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2" r:id="rId3"/>
    <p:sldId id="323" r:id="rId4"/>
    <p:sldId id="322" r:id="rId5"/>
    <p:sldId id="324" r:id="rId6"/>
    <p:sldId id="263" r:id="rId7"/>
    <p:sldId id="326" r:id="rId8"/>
    <p:sldId id="329" r:id="rId9"/>
    <p:sldId id="330" r:id="rId10"/>
    <p:sldId id="333" r:id="rId11"/>
    <p:sldId id="331" r:id="rId12"/>
    <p:sldId id="332" r:id="rId13"/>
  </p:sldIdLst>
  <p:sldSz cx="12192000" cy="6858000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2" autoAdjust="0"/>
    <p:restoredTop sz="94628" autoAdjust="0"/>
  </p:normalViewPr>
  <p:slideViewPr>
    <p:cSldViewPr snapToGrid="0" snapToObjects="1">
      <p:cViewPr varScale="1">
        <p:scale>
          <a:sx n="50" d="100"/>
          <a:sy n="50" d="100"/>
        </p:scale>
        <p:origin x="819" y="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userId="feccfd06f4d4d0ff" providerId="LiveId" clId="{810B136A-8F62-4B71-819D-DAE9EDFA9553}"/>
    <pc:docChg chg="undo custSel modSld sldOrd">
      <pc:chgData name="" userId="feccfd06f4d4d0ff" providerId="LiveId" clId="{810B136A-8F62-4B71-819D-DAE9EDFA9553}" dt="2021-05-05T04:55:50.509" v="1542" actId="20577"/>
      <pc:docMkLst>
        <pc:docMk/>
      </pc:docMkLst>
      <pc:sldChg chg="addSp modSp">
        <pc:chgData name="" userId="feccfd06f4d4d0ff" providerId="LiveId" clId="{810B136A-8F62-4B71-819D-DAE9EDFA9553}" dt="2021-05-05T04:55:50.509" v="1542" actId="20577"/>
        <pc:sldMkLst>
          <pc:docMk/>
          <pc:sldMk cId="1741804660" sldId="322"/>
        </pc:sldMkLst>
        <pc:spChg chg="mod">
          <ac:chgData name="" userId="feccfd06f4d4d0ff" providerId="LiveId" clId="{810B136A-8F62-4B71-819D-DAE9EDFA9553}" dt="2021-05-05T04:40:44.808" v="521" actId="20577"/>
          <ac:spMkLst>
            <pc:docMk/>
            <pc:sldMk cId="1741804660" sldId="322"/>
            <ac:spMk id="2" creationId="{4E4B914C-518C-46CA-B015-96B05BE831A8}"/>
          </ac:spMkLst>
        </pc:spChg>
        <pc:spChg chg="mod">
          <ac:chgData name="" userId="feccfd06f4d4d0ff" providerId="LiveId" clId="{810B136A-8F62-4B71-819D-DAE9EDFA9553}" dt="2021-05-05T04:43:09.818" v="662" actId="1035"/>
          <ac:spMkLst>
            <pc:docMk/>
            <pc:sldMk cId="1741804660" sldId="322"/>
            <ac:spMk id="5" creationId="{4DB9563A-82D5-49CB-9503-A6568D2C5926}"/>
          </ac:spMkLst>
        </pc:spChg>
        <pc:spChg chg="mod">
          <ac:chgData name="" userId="feccfd06f4d4d0ff" providerId="LiveId" clId="{810B136A-8F62-4B71-819D-DAE9EDFA9553}" dt="2021-05-05T04:48:03.336" v="842" actId="20577"/>
          <ac:spMkLst>
            <pc:docMk/>
            <pc:sldMk cId="1741804660" sldId="322"/>
            <ac:spMk id="7" creationId="{1B73F92E-1077-4388-9DB1-8B3968E0E708}"/>
          </ac:spMkLst>
        </pc:spChg>
        <pc:spChg chg="mod">
          <ac:chgData name="" userId="feccfd06f4d4d0ff" providerId="LiveId" clId="{810B136A-8F62-4B71-819D-DAE9EDFA9553}" dt="2021-05-05T04:44:39.940" v="701" actId="1036"/>
          <ac:spMkLst>
            <pc:docMk/>
            <pc:sldMk cId="1741804660" sldId="322"/>
            <ac:spMk id="11" creationId="{152D5609-AAB4-4458-B34B-A2DCEE34E945}"/>
          </ac:spMkLst>
        </pc:spChg>
        <pc:spChg chg="mod">
          <ac:chgData name="" userId="feccfd06f4d4d0ff" providerId="LiveId" clId="{810B136A-8F62-4B71-819D-DAE9EDFA9553}" dt="2021-05-05T04:55:42.925" v="1541" actId="1076"/>
          <ac:spMkLst>
            <pc:docMk/>
            <pc:sldMk cId="1741804660" sldId="322"/>
            <ac:spMk id="12" creationId="{8BB41511-DA28-47F6-A2A1-5BFF4061C591}"/>
          </ac:spMkLst>
        </pc:spChg>
        <pc:spChg chg="add mod">
          <ac:chgData name="" userId="feccfd06f4d4d0ff" providerId="LiveId" clId="{810B136A-8F62-4B71-819D-DAE9EDFA9553}" dt="2021-05-05T04:55:50.509" v="1542" actId="20577"/>
          <ac:spMkLst>
            <pc:docMk/>
            <pc:sldMk cId="1741804660" sldId="322"/>
            <ac:spMk id="13" creationId="{D7E1AF8D-32DB-47CC-875E-86C745CF90EC}"/>
          </ac:spMkLst>
        </pc:spChg>
        <pc:graphicFrameChg chg="mod modGraphic">
          <ac:chgData name="" userId="feccfd06f4d4d0ff" providerId="LiveId" clId="{810B136A-8F62-4B71-819D-DAE9EDFA9553}" dt="2021-05-05T04:44:39.940" v="701" actId="1036"/>
          <ac:graphicFrameMkLst>
            <pc:docMk/>
            <pc:sldMk cId="1741804660" sldId="322"/>
            <ac:graphicFrameMk id="10" creationId="{63C325CB-F312-4AC2-8D49-EEA6B3D2E824}"/>
          </ac:graphicFrameMkLst>
        </pc:graphicFrameChg>
      </pc:sldChg>
      <pc:sldChg chg="addSp delSp modSp modAnim">
        <pc:chgData name="" userId="feccfd06f4d4d0ff" providerId="LiveId" clId="{810B136A-8F62-4B71-819D-DAE9EDFA9553}" dt="2021-05-05T04:52:06.735" v="1425" actId="1076"/>
        <pc:sldMkLst>
          <pc:docMk/>
          <pc:sldMk cId="1587570965" sldId="323"/>
        </pc:sldMkLst>
        <pc:spChg chg="del mod">
          <ac:chgData name="" userId="feccfd06f4d4d0ff" providerId="LiveId" clId="{810B136A-8F62-4B71-819D-DAE9EDFA9553}" dt="2021-05-05T04:51:42.010" v="1343"/>
          <ac:spMkLst>
            <pc:docMk/>
            <pc:sldMk cId="1587570965" sldId="323"/>
            <ac:spMk id="12" creationId="{45C0267A-C29F-4865-844A-C020C4DA24F2}"/>
          </ac:spMkLst>
        </pc:spChg>
        <pc:spChg chg="add mod">
          <ac:chgData name="" userId="feccfd06f4d4d0ff" providerId="LiveId" clId="{810B136A-8F62-4B71-819D-DAE9EDFA9553}" dt="2021-05-05T04:52:06.735" v="1425" actId="1076"/>
          <ac:spMkLst>
            <pc:docMk/>
            <pc:sldMk cId="1587570965" sldId="323"/>
            <ac:spMk id="13" creationId="{75C7529D-7BFB-478A-8A79-8F17464E0EC5}"/>
          </ac:spMkLst>
        </pc:spChg>
        <pc:spChg chg="add mod">
          <ac:chgData name="" userId="feccfd06f4d4d0ff" providerId="LiveId" clId="{810B136A-8F62-4B71-819D-DAE9EDFA9553}" dt="2021-05-05T04:52:06.735" v="1425" actId="1076"/>
          <ac:spMkLst>
            <pc:docMk/>
            <pc:sldMk cId="1587570965" sldId="323"/>
            <ac:spMk id="14" creationId="{3196C48E-0E93-4D55-AD6E-E57C2039ACF6}"/>
          </ac:spMkLst>
        </pc:spChg>
        <pc:spChg chg="mod">
          <ac:chgData name="" userId="feccfd06f4d4d0ff" providerId="LiveId" clId="{810B136A-8F62-4B71-819D-DAE9EDFA9553}" dt="2021-05-05T04:51:48.506" v="1379" actId="1036"/>
          <ac:spMkLst>
            <pc:docMk/>
            <pc:sldMk cId="1587570965" sldId="323"/>
            <ac:spMk id="22" creationId="{5C34D2B8-07EB-40BB-B2FE-0461FCBB3785}"/>
          </ac:spMkLst>
        </pc:spChg>
        <pc:spChg chg="del">
          <ac:chgData name="" userId="feccfd06f4d4d0ff" providerId="LiveId" clId="{810B136A-8F62-4B71-819D-DAE9EDFA9553}" dt="2021-05-05T04:51:42.010" v="1343"/>
          <ac:spMkLst>
            <pc:docMk/>
            <pc:sldMk cId="1587570965" sldId="323"/>
            <ac:spMk id="24" creationId="{DCCEEF76-55DB-4588-A21F-F67C19DE243B}"/>
          </ac:spMkLst>
        </pc:spChg>
        <pc:spChg chg="mod">
          <ac:chgData name="" userId="feccfd06f4d4d0ff" providerId="LiveId" clId="{810B136A-8F62-4B71-819D-DAE9EDFA9553}" dt="2021-05-05T04:51:48.506" v="1379" actId="1036"/>
          <ac:spMkLst>
            <pc:docMk/>
            <pc:sldMk cId="1587570965" sldId="323"/>
            <ac:spMk id="25" creationId="{1D3A5D10-F32B-4DFE-AA97-BAB1EFFA1B62}"/>
          </ac:spMkLst>
        </pc:spChg>
      </pc:sldChg>
      <pc:sldChg chg="addSp delSp modSp">
        <pc:chgData name="" userId="feccfd06f4d4d0ff" providerId="LiveId" clId="{810B136A-8F62-4B71-819D-DAE9EDFA9553}" dt="2021-05-05T04:52:45.387" v="1511" actId="1036"/>
        <pc:sldMkLst>
          <pc:docMk/>
          <pc:sldMk cId="4167410074" sldId="324"/>
        </pc:sldMkLst>
        <pc:spChg chg="del">
          <ac:chgData name="" userId="feccfd06f4d4d0ff" providerId="LiveId" clId="{810B136A-8F62-4B71-819D-DAE9EDFA9553}" dt="2021-05-05T04:52:23.663" v="1426"/>
          <ac:spMkLst>
            <pc:docMk/>
            <pc:sldMk cId="4167410074" sldId="324"/>
            <ac:spMk id="12" creationId="{45C0267A-C29F-4865-844A-C020C4DA24F2}"/>
          </ac:spMkLst>
        </pc:spChg>
        <pc:spChg chg="mod">
          <ac:chgData name="" userId="feccfd06f4d4d0ff" providerId="LiveId" clId="{810B136A-8F62-4B71-819D-DAE9EDFA9553}" dt="2021-05-05T04:52:34.160" v="1475" actId="1036"/>
          <ac:spMkLst>
            <pc:docMk/>
            <pc:sldMk cId="4167410074" sldId="324"/>
            <ac:spMk id="22" creationId="{5C34D2B8-07EB-40BB-B2FE-0461FCBB3785}"/>
          </ac:spMkLst>
        </pc:spChg>
        <pc:spChg chg="add mod">
          <ac:chgData name="" userId="feccfd06f4d4d0ff" providerId="LiveId" clId="{810B136A-8F62-4B71-819D-DAE9EDFA9553}" dt="2021-05-05T04:52:45.387" v="1511" actId="1036"/>
          <ac:spMkLst>
            <pc:docMk/>
            <pc:sldMk cId="4167410074" sldId="324"/>
            <ac:spMk id="23" creationId="{C261EE88-64BF-4432-ACAD-074CC457C202}"/>
          </ac:spMkLst>
        </pc:spChg>
        <pc:grpChg chg="del">
          <ac:chgData name="" userId="feccfd06f4d4d0ff" providerId="LiveId" clId="{810B136A-8F62-4B71-819D-DAE9EDFA9553}" dt="2021-05-05T04:52:23.663" v="1426"/>
          <ac:grpSpMkLst>
            <pc:docMk/>
            <pc:sldMk cId="4167410074" sldId="324"/>
            <ac:grpSpMk id="24" creationId="{52D28CA9-A76C-486A-BE88-5AF3191B8F9E}"/>
          </ac:grpSpMkLst>
        </pc:grpChg>
        <pc:grpChg chg="mod">
          <ac:chgData name="" userId="feccfd06f4d4d0ff" providerId="LiveId" clId="{810B136A-8F62-4B71-819D-DAE9EDFA9553}" dt="2021-05-05T04:52:34.160" v="1475" actId="1036"/>
          <ac:grpSpMkLst>
            <pc:docMk/>
            <pc:sldMk cId="4167410074" sldId="324"/>
            <ac:grpSpMk id="25" creationId="{9FAC893C-456E-4DF1-A501-75979A5FCD08}"/>
          </ac:grpSpMkLst>
        </pc:grpChg>
        <pc:grpChg chg="add mod">
          <ac:chgData name="" userId="feccfd06f4d4d0ff" providerId="LiveId" clId="{810B136A-8F62-4B71-819D-DAE9EDFA9553}" dt="2021-05-05T04:52:45.387" v="1511" actId="1036"/>
          <ac:grpSpMkLst>
            <pc:docMk/>
            <pc:sldMk cId="4167410074" sldId="324"/>
            <ac:grpSpMk id="26" creationId="{DED1F6D5-7974-433D-A0EE-3F435B457DD2}"/>
          </ac:grpSpMkLst>
        </pc:grpChg>
      </pc:sldChg>
      <pc:sldChg chg="modSp">
        <pc:chgData name="" userId="feccfd06f4d4d0ff" providerId="LiveId" clId="{810B136A-8F62-4B71-819D-DAE9EDFA9553}" dt="2021-05-05T04:23:58.283" v="25" actId="1036"/>
        <pc:sldMkLst>
          <pc:docMk/>
          <pc:sldMk cId="1218921753" sldId="326"/>
        </pc:sldMkLst>
        <pc:graphicFrameChg chg="mod">
          <ac:chgData name="" userId="feccfd06f4d4d0ff" providerId="LiveId" clId="{810B136A-8F62-4B71-819D-DAE9EDFA9553}" dt="2021-05-05T04:23:58.283" v="25" actId="1036"/>
          <ac:graphicFrameMkLst>
            <pc:docMk/>
            <pc:sldMk cId="1218921753" sldId="326"/>
            <ac:graphicFrameMk id="13" creationId="{F06EE176-A9D9-4BCF-B836-886EF07B9D76}"/>
          </ac:graphicFrameMkLst>
        </pc:graphicFrameChg>
      </pc:sldChg>
      <pc:sldChg chg="ord">
        <pc:chgData name="" userId="feccfd06f4d4d0ff" providerId="LiveId" clId="{810B136A-8F62-4B71-819D-DAE9EDFA9553}" dt="2021-05-05T04:53:18.075" v="1513"/>
        <pc:sldMkLst>
          <pc:docMk/>
          <pc:sldMk cId="2204190457" sldId="329"/>
        </pc:sldMkLst>
      </pc:sldChg>
      <pc:sldChg chg="addSp delSp modSp">
        <pc:chgData name="" userId="feccfd06f4d4d0ff" providerId="LiveId" clId="{810B136A-8F62-4B71-819D-DAE9EDFA9553}" dt="2021-05-05T04:54:48.170" v="1537" actId="20577"/>
        <pc:sldMkLst>
          <pc:docMk/>
          <pc:sldMk cId="1195972665" sldId="330"/>
        </pc:sldMkLst>
        <pc:spChg chg="add mod">
          <ac:chgData name="" userId="feccfd06f4d4d0ff" providerId="LiveId" clId="{810B136A-8F62-4B71-819D-DAE9EDFA9553}" dt="2021-05-05T04:54:39.544" v="1532" actId="14100"/>
          <ac:spMkLst>
            <pc:docMk/>
            <pc:sldMk cId="1195972665" sldId="330"/>
            <ac:spMk id="3" creationId="{0B92D4FC-FE3F-4435-B7C4-B8E9D7505BD1}"/>
          </ac:spMkLst>
        </pc:spChg>
        <pc:spChg chg="add del mod">
          <ac:chgData name="" userId="feccfd06f4d4d0ff" providerId="LiveId" clId="{810B136A-8F62-4B71-819D-DAE9EDFA9553}" dt="2021-05-05T04:27:31.498" v="243" actId="478"/>
          <ac:spMkLst>
            <pc:docMk/>
            <pc:sldMk cId="1195972665" sldId="330"/>
            <ac:spMk id="7" creationId="{6336326C-D411-4A23-A231-8A247804323B}"/>
          </ac:spMkLst>
        </pc:spChg>
        <pc:spChg chg="add del mod">
          <ac:chgData name="" userId="feccfd06f4d4d0ff" providerId="LiveId" clId="{810B136A-8F62-4B71-819D-DAE9EDFA9553}" dt="2021-05-05T04:27:56.162" v="258" actId="478"/>
          <ac:spMkLst>
            <pc:docMk/>
            <pc:sldMk cId="1195972665" sldId="330"/>
            <ac:spMk id="8" creationId="{B7036B12-5FFD-40C6-A13F-3ECE87740081}"/>
          </ac:spMkLst>
        </pc:spChg>
        <pc:spChg chg="add mod">
          <ac:chgData name="" userId="feccfd06f4d4d0ff" providerId="LiveId" clId="{810B136A-8F62-4B71-819D-DAE9EDFA9553}" dt="2021-05-05T04:31:39.153" v="336" actId="1038"/>
          <ac:spMkLst>
            <pc:docMk/>
            <pc:sldMk cId="1195972665" sldId="330"/>
            <ac:spMk id="9" creationId="{4C44E66E-D1C3-4F49-A184-1CDF572CC6D2}"/>
          </ac:spMkLst>
        </pc:spChg>
        <pc:spChg chg="add mod">
          <ac:chgData name="" userId="feccfd06f4d4d0ff" providerId="LiveId" clId="{810B136A-8F62-4B71-819D-DAE9EDFA9553}" dt="2021-05-05T04:31:46.120" v="358" actId="1038"/>
          <ac:spMkLst>
            <pc:docMk/>
            <pc:sldMk cId="1195972665" sldId="330"/>
            <ac:spMk id="10" creationId="{77F91D9F-1449-47FA-BCB9-577AFDDB3B1B}"/>
          </ac:spMkLst>
        </pc:spChg>
        <pc:spChg chg="add mod">
          <ac:chgData name="" userId="feccfd06f4d4d0ff" providerId="LiveId" clId="{810B136A-8F62-4B71-819D-DAE9EDFA9553}" dt="2021-05-05T04:54:48.170" v="1537" actId="20577"/>
          <ac:spMkLst>
            <pc:docMk/>
            <pc:sldMk cId="1195972665" sldId="330"/>
            <ac:spMk id="14" creationId="{FA95D906-1709-4700-9BCE-3570CCE63471}"/>
          </ac:spMkLst>
        </pc:spChg>
        <pc:spChg chg="mod">
          <ac:chgData name="" userId="feccfd06f4d4d0ff" providerId="LiveId" clId="{810B136A-8F62-4B71-819D-DAE9EDFA9553}" dt="2021-05-05T04:25:10.706" v="64" actId="14100"/>
          <ac:spMkLst>
            <pc:docMk/>
            <pc:sldMk cId="1195972665" sldId="330"/>
            <ac:spMk id="16" creationId="{9A2078B6-8B49-45C8-8B6A-9F892CFBEE0C}"/>
          </ac:spMkLst>
        </pc:spChg>
        <pc:graphicFrameChg chg="mod">
          <ac:chgData name="" userId="feccfd06f4d4d0ff" providerId="LiveId" clId="{810B136A-8F62-4B71-819D-DAE9EDFA9553}" dt="2021-05-05T04:25:04.471" v="63" actId="1035"/>
          <ac:graphicFrameMkLst>
            <pc:docMk/>
            <pc:sldMk cId="1195972665" sldId="330"/>
            <ac:graphicFrameMk id="15" creationId="{5D6C3A0B-0DFC-4D68-8368-F685255F7FEC}"/>
          </ac:graphicFrameMkLst>
        </pc:graphicFrameChg>
        <pc:cxnChg chg="add mod">
          <ac:chgData name="" userId="feccfd06f4d4d0ff" providerId="LiveId" clId="{810B136A-8F62-4B71-819D-DAE9EDFA9553}" dt="2021-05-05T04:31:23.569" v="325" actId="1035"/>
          <ac:cxnSpMkLst>
            <pc:docMk/>
            <pc:sldMk cId="1195972665" sldId="330"/>
            <ac:cxnSpMk id="12" creationId="{75401F55-7C0F-4EC1-84D9-675D8AC6545A}"/>
          </ac:cxnSpMkLst>
        </pc:cxnChg>
        <pc:cxnChg chg="add mod">
          <ac:chgData name="" userId="feccfd06f4d4d0ff" providerId="LiveId" clId="{810B136A-8F62-4B71-819D-DAE9EDFA9553}" dt="2021-05-05T04:31:55.398" v="359" actId="14100"/>
          <ac:cxnSpMkLst>
            <pc:docMk/>
            <pc:sldMk cId="1195972665" sldId="330"/>
            <ac:cxnSpMk id="18" creationId="{D1184B5C-3C0D-4198-A08D-F6FB92CF0C21}"/>
          </ac:cxnSpMkLst>
        </pc:cxnChg>
      </pc:sldChg>
      <pc:sldChg chg="modSp">
        <pc:chgData name="" userId="feccfd06f4d4d0ff" providerId="LiveId" clId="{810B136A-8F62-4B71-819D-DAE9EDFA9553}" dt="2021-05-05T04:32:30.355" v="380" actId="1076"/>
        <pc:sldMkLst>
          <pc:docMk/>
          <pc:sldMk cId="1511926335" sldId="331"/>
        </pc:sldMkLst>
        <pc:spChg chg="mod">
          <ac:chgData name="" userId="feccfd06f4d4d0ff" providerId="LiveId" clId="{810B136A-8F62-4B71-819D-DAE9EDFA9553}" dt="2021-05-05T04:32:27.078" v="379" actId="1036"/>
          <ac:spMkLst>
            <pc:docMk/>
            <pc:sldMk cId="1511926335" sldId="331"/>
            <ac:spMk id="7" creationId="{38ABDB93-7CE6-4FFD-8862-7760A377E83D}"/>
          </ac:spMkLst>
        </pc:spChg>
        <pc:spChg chg="mod">
          <ac:chgData name="" userId="feccfd06f4d4d0ff" providerId="LiveId" clId="{810B136A-8F62-4B71-819D-DAE9EDFA9553}" dt="2021-05-05T04:32:30.355" v="380" actId="1076"/>
          <ac:spMkLst>
            <pc:docMk/>
            <pc:sldMk cId="1511926335" sldId="331"/>
            <ac:spMk id="17" creationId="{2599D75D-1B0D-403B-960E-2C2627FBDEB5}"/>
          </ac:spMkLst>
        </pc:spChg>
      </pc:sldChg>
      <pc:sldChg chg="ord">
        <pc:chgData name="" userId="feccfd06f4d4d0ff" providerId="LiveId" clId="{810B136A-8F62-4B71-819D-DAE9EDFA9553}" dt="2021-05-05T04:53:15.456" v="1512"/>
        <pc:sldMkLst>
          <pc:docMk/>
          <pc:sldMk cId="3066221029" sldId="332"/>
        </pc:sldMkLst>
      </pc:sldChg>
    </pc:docChg>
  </pc:docChgLst>
  <pc:docChgLst>
    <pc:chgData userId="feccfd06f4d4d0ff" providerId="LiveId" clId="{F4A7E22A-758E-477D-B3BE-C0280A684788}"/>
    <pc:docChg chg="undo custSel addSld modSld">
      <pc:chgData name="" userId="feccfd06f4d4d0ff" providerId="LiveId" clId="{F4A7E22A-758E-477D-B3BE-C0280A684788}" dt="2021-05-05T16:34:03.274" v="1535" actId="478"/>
      <pc:docMkLst>
        <pc:docMk/>
      </pc:docMkLst>
      <pc:sldChg chg="modSp">
        <pc:chgData name="" userId="feccfd06f4d4d0ff" providerId="LiveId" clId="{F4A7E22A-758E-477D-B3BE-C0280A684788}" dt="2021-05-05T12:21:41.519" v="964" actId="20577"/>
        <pc:sldMkLst>
          <pc:docMk/>
          <pc:sldMk cId="2257748251" sldId="262"/>
        </pc:sldMkLst>
        <pc:spChg chg="mod">
          <ac:chgData name="" userId="feccfd06f4d4d0ff" providerId="LiveId" clId="{F4A7E22A-758E-477D-B3BE-C0280A684788}" dt="2021-05-05T12:21:41.519" v="964" actId="20577"/>
          <ac:spMkLst>
            <pc:docMk/>
            <pc:sldMk cId="2257748251" sldId="262"/>
            <ac:spMk id="23" creationId="{3DEBEE1B-EFE1-4C2F-ABAB-D0735ED588B7}"/>
          </ac:spMkLst>
        </pc:spChg>
      </pc:sldChg>
      <pc:sldChg chg="modSp">
        <pc:chgData name="" userId="feccfd06f4d4d0ff" providerId="LiveId" clId="{F4A7E22A-758E-477D-B3BE-C0280A684788}" dt="2021-05-05T16:27:01.610" v="1516" actId="108"/>
        <pc:sldMkLst>
          <pc:docMk/>
          <pc:sldMk cId="3720280811" sldId="263"/>
        </pc:sldMkLst>
        <pc:graphicFrameChg chg="mod modGraphic">
          <ac:chgData name="" userId="feccfd06f4d4d0ff" providerId="LiveId" clId="{F4A7E22A-758E-477D-B3BE-C0280A684788}" dt="2021-05-05T16:27:01.610" v="1516" actId="108"/>
          <ac:graphicFrameMkLst>
            <pc:docMk/>
            <pc:sldMk cId="3720280811" sldId="263"/>
            <ac:graphicFrameMk id="7" creationId="{5E3D82EE-ECFD-4743-932A-03EE528A527F}"/>
          </ac:graphicFrameMkLst>
        </pc:graphicFrameChg>
      </pc:sldChg>
      <pc:sldChg chg="modSp">
        <pc:chgData name="" userId="feccfd06f4d4d0ff" providerId="LiveId" clId="{F4A7E22A-758E-477D-B3BE-C0280A684788}" dt="2021-05-05T16:10:59.629" v="1396" actId="20577"/>
        <pc:sldMkLst>
          <pc:docMk/>
          <pc:sldMk cId="1741804660" sldId="322"/>
        </pc:sldMkLst>
        <pc:spChg chg="mod">
          <ac:chgData name="" userId="feccfd06f4d4d0ff" providerId="LiveId" clId="{F4A7E22A-758E-477D-B3BE-C0280A684788}" dt="2021-05-05T16:10:59.629" v="1396" actId="20577"/>
          <ac:spMkLst>
            <pc:docMk/>
            <pc:sldMk cId="1741804660" sldId="322"/>
            <ac:spMk id="7" creationId="{1B73F92E-1077-4388-9DB1-8B3968E0E708}"/>
          </ac:spMkLst>
        </pc:spChg>
        <pc:graphicFrameChg chg="mod modGraphic">
          <ac:chgData name="" userId="feccfd06f4d4d0ff" providerId="LiveId" clId="{F4A7E22A-758E-477D-B3BE-C0280A684788}" dt="2021-05-05T11:11:55.608" v="957" actId="255"/>
          <ac:graphicFrameMkLst>
            <pc:docMk/>
            <pc:sldMk cId="1741804660" sldId="322"/>
            <ac:graphicFrameMk id="10" creationId="{63C325CB-F312-4AC2-8D49-EEA6B3D2E824}"/>
          </ac:graphicFrameMkLst>
        </pc:graphicFrameChg>
      </pc:sldChg>
      <pc:sldChg chg="delSp modSp">
        <pc:chgData name="" userId="feccfd06f4d4d0ff" providerId="LiveId" clId="{F4A7E22A-758E-477D-B3BE-C0280A684788}" dt="2021-05-05T16:34:03.274" v="1535" actId="478"/>
        <pc:sldMkLst>
          <pc:docMk/>
          <pc:sldMk cId="1587570965" sldId="323"/>
        </pc:sldMkLst>
        <pc:spChg chg="mod">
          <ac:chgData name="" userId="feccfd06f4d4d0ff" providerId="LiveId" clId="{F4A7E22A-758E-477D-B3BE-C0280A684788}" dt="2021-05-05T16:33:59.262" v="1534" actId="20577"/>
          <ac:spMkLst>
            <pc:docMk/>
            <pc:sldMk cId="1587570965" sldId="323"/>
            <ac:spMk id="2" creationId="{0761CE12-C006-4BC2-AC19-1B2889E9FF85}"/>
          </ac:spMkLst>
        </pc:spChg>
        <pc:spChg chg="del">
          <ac:chgData name="" userId="feccfd06f4d4d0ff" providerId="LiveId" clId="{F4A7E22A-758E-477D-B3BE-C0280A684788}" dt="2021-05-05T16:34:03.274" v="1535" actId="478"/>
          <ac:spMkLst>
            <pc:docMk/>
            <pc:sldMk cId="1587570965" sldId="323"/>
            <ac:spMk id="3" creationId="{335E8C2F-2AFF-4100-B267-C7EBFF80C329}"/>
          </ac:spMkLst>
        </pc:spChg>
        <pc:spChg chg="mod">
          <ac:chgData name="" userId="feccfd06f4d4d0ff" providerId="LiveId" clId="{F4A7E22A-758E-477D-B3BE-C0280A684788}" dt="2021-05-05T09:37:32.902" v="805" actId="207"/>
          <ac:spMkLst>
            <pc:docMk/>
            <pc:sldMk cId="1587570965" sldId="323"/>
            <ac:spMk id="7" creationId="{F2C3C57D-41C4-4B34-99A3-2A2D42ACD650}"/>
          </ac:spMkLst>
        </pc:spChg>
        <pc:spChg chg="mod">
          <ac:chgData name="" userId="feccfd06f4d4d0ff" providerId="LiveId" clId="{F4A7E22A-758E-477D-B3BE-C0280A684788}" dt="2021-05-05T16:10:38.604" v="1380" actId="20577"/>
          <ac:spMkLst>
            <pc:docMk/>
            <pc:sldMk cId="1587570965" sldId="323"/>
            <ac:spMk id="13" creationId="{75C7529D-7BFB-478A-8A79-8F17464E0EC5}"/>
          </ac:spMkLst>
        </pc:spChg>
        <pc:spChg chg="mod">
          <ac:chgData name="" userId="feccfd06f4d4d0ff" providerId="LiveId" clId="{F4A7E22A-758E-477D-B3BE-C0280A684788}" dt="2021-05-05T09:37:25.159" v="804" actId="207"/>
          <ac:spMkLst>
            <pc:docMk/>
            <pc:sldMk cId="1587570965" sldId="323"/>
            <ac:spMk id="22" creationId="{5C34D2B8-07EB-40BB-B2FE-0461FCBB3785}"/>
          </ac:spMkLst>
        </pc:spChg>
      </pc:sldChg>
      <pc:sldChg chg="addSp delSp modSp modAnim">
        <pc:chgData name="" userId="feccfd06f4d4d0ff" providerId="LiveId" clId="{F4A7E22A-758E-477D-B3BE-C0280A684788}" dt="2021-05-05T16:11:09.117" v="1400" actId="20577"/>
        <pc:sldMkLst>
          <pc:docMk/>
          <pc:sldMk cId="4167410074" sldId="324"/>
        </pc:sldMkLst>
        <pc:spChg chg="mod">
          <ac:chgData name="" userId="feccfd06f4d4d0ff" providerId="LiveId" clId="{F4A7E22A-758E-477D-B3BE-C0280A684788}" dt="2021-05-05T13:03:37.307" v="1308" actId="1037"/>
          <ac:spMkLst>
            <pc:docMk/>
            <pc:sldMk cId="4167410074" sldId="324"/>
            <ac:spMk id="8" creationId="{504D9173-ADBF-4623-89EF-679492DA773A}"/>
          </ac:spMkLst>
        </pc:spChg>
        <pc:spChg chg="mod">
          <ac:chgData name="" userId="feccfd06f4d4d0ff" providerId="LiveId" clId="{F4A7E22A-758E-477D-B3BE-C0280A684788}" dt="2021-05-05T09:06:30.678" v="388" actId="20577"/>
          <ac:spMkLst>
            <pc:docMk/>
            <pc:sldMk cId="4167410074" sldId="324"/>
            <ac:spMk id="20" creationId="{EEF86747-8668-49E7-A847-E7E536CE920F}"/>
          </ac:spMkLst>
        </pc:spChg>
        <pc:spChg chg="mod">
          <ac:chgData name="" userId="feccfd06f4d4d0ff" providerId="LiveId" clId="{F4A7E22A-758E-477D-B3BE-C0280A684788}" dt="2021-05-05T16:11:09.117" v="1400" actId="20577"/>
          <ac:spMkLst>
            <pc:docMk/>
            <pc:sldMk cId="4167410074" sldId="324"/>
            <ac:spMk id="23" creationId="{C261EE88-64BF-4432-ACAD-074CC457C202}"/>
          </ac:spMkLst>
        </pc:spChg>
        <pc:spChg chg="add del">
          <ac:chgData name="" userId="feccfd06f4d4d0ff" providerId="LiveId" clId="{F4A7E22A-758E-477D-B3BE-C0280A684788}" dt="2021-05-05T09:00:37.970" v="37"/>
          <ac:spMkLst>
            <pc:docMk/>
            <pc:sldMk cId="4167410074" sldId="324"/>
            <ac:spMk id="24" creationId="{59602A5C-7BF2-4C47-8238-D46BD222E22B}"/>
          </ac:spMkLst>
        </pc:spChg>
        <pc:spChg chg="mod">
          <ac:chgData name="" userId="feccfd06f4d4d0ff" providerId="LiveId" clId="{F4A7E22A-758E-477D-B3BE-C0280A684788}" dt="2021-05-05T11:04:31.204" v="925" actId="20577"/>
          <ac:spMkLst>
            <pc:docMk/>
            <pc:sldMk cId="4167410074" sldId="324"/>
            <ac:spMk id="27" creationId="{8816CF8F-C2AF-448D-B846-CF655EDA2E86}"/>
          </ac:spMkLst>
        </pc:spChg>
        <pc:spChg chg="mod">
          <ac:chgData name="" userId="feccfd06f4d4d0ff" providerId="LiveId" clId="{F4A7E22A-758E-477D-B3BE-C0280A684788}" dt="2021-05-05T09:06:33.095" v="390" actId="20577"/>
          <ac:spMkLst>
            <pc:docMk/>
            <pc:sldMk cId="4167410074" sldId="324"/>
            <ac:spMk id="28" creationId="{B1F6B204-A97E-4113-96FA-CC981E0DED91}"/>
          </ac:spMkLst>
        </pc:spChg>
        <pc:spChg chg="mod">
          <ac:chgData name="" userId="feccfd06f4d4d0ff" providerId="LiveId" clId="{F4A7E22A-758E-477D-B3BE-C0280A684788}" dt="2021-05-05T09:04:26.532" v="261" actId="20577"/>
          <ac:spMkLst>
            <pc:docMk/>
            <pc:sldMk cId="4167410074" sldId="324"/>
            <ac:spMk id="30" creationId="{83DB6A32-0959-4FEC-8CE3-A2C82CDD99F8}"/>
          </ac:spMkLst>
        </pc:spChg>
        <pc:spChg chg="mod">
          <ac:chgData name="" userId="feccfd06f4d4d0ff" providerId="LiveId" clId="{F4A7E22A-758E-477D-B3BE-C0280A684788}" dt="2021-05-05T13:03:23.419" v="1303" actId="1037"/>
          <ac:spMkLst>
            <pc:docMk/>
            <pc:sldMk cId="4167410074" sldId="324"/>
            <ac:spMk id="33" creationId="{1047E26E-691B-4B00-A417-B428653CBEA3}"/>
          </ac:spMkLst>
        </pc:spChg>
        <pc:spChg chg="mod">
          <ac:chgData name="" userId="feccfd06f4d4d0ff" providerId="LiveId" clId="{F4A7E22A-758E-477D-B3BE-C0280A684788}" dt="2021-05-05T09:06:35.290" v="392" actId="20577"/>
          <ac:spMkLst>
            <pc:docMk/>
            <pc:sldMk cId="4167410074" sldId="324"/>
            <ac:spMk id="34" creationId="{5A604159-38F4-46E4-B174-917527961DF4}"/>
          </ac:spMkLst>
        </pc:spChg>
        <pc:grpChg chg="mod">
          <ac:chgData name="" userId="feccfd06f4d4d0ff" providerId="LiveId" clId="{F4A7E22A-758E-477D-B3BE-C0280A684788}" dt="2021-05-05T09:05:33.210" v="294" actId="1076"/>
          <ac:grpSpMkLst>
            <pc:docMk/>
            <pc:sldMk cId="4167410074" sldId="324"/>
            <ac:grpSpMk id="26" creationId="{DED1F6D5-7974-433D-A0EE-3F435B457DD2}"/>
          </ac:grpSpMkLst>
        </pc:grpChg>
        <pc:grpChg chg="add del mod">
          <ac:chgData name="" userId="feccfd06f4d4d0ff" providerId="LiveId" clId="{F4A7E22A-758E-477D-B3BE-C0280A684788}" dt="2021-05-05T09:05:23.308" v="262"/>
          <ac:grpSpMkLst>
            <pc:docMk/>
            <pc:sldMk cId="4167410074" sldId="324"/>
            <ac:grpSpMk id="29" creationId="{816A4C8B-871F-4349-AE55-1696512A702F}"/>
          </ac:grpSpMkLst>
        </pc:grpChg>
        <pc:grpChg chg="add mod">
          <ac:chgData name="" userId="feccfd06f4d4d0ff" providerId="LiveId" clId="{F4A7E22A-758E-477D-B3BE-C0280A684788}" dt="2021-05-05T09:05:40.357" v="323" actId="1076"/>
          <ac:grpSpMkLst>
            <pc:docMk/>
            <pc:sldMk cId="4167410074" sldId="324"/>
            <ac:grpSpMk id="32" creationId="{E41F080B-A92A-4D63-88A4-E397A052B492}"/>
          </ac:grpSpMkLst>
        </pc:grpChg>
      </pc:sldChg>
      <pc:sldChg chg="addSp modSp">
        <pc:chgData name="" userId="feccfd06f4d4d0ff" providerId="LiveId" clId="{F4A7E22A-758E-477D-B3BE-C0280A684788}" dt="2021-05-05T16:24:10.198" v="1486" actId="121"/>
        <pc:sldMkLst>
          <pc:docMk/>
          <pc:sldMk cId="1218921753" sldId="326"/>
        </pc:sldMkLst>
        <pc:spChg chg="add mod">
          <ac:chgData name="" userId="feccfd06f4d4d0ff" providerId="LiveId" clId="{F4A7E22A-758E-477D-B3BE-C0280A684788}" dt="2021-05-05T16:24:10.198" v="1486" actId="121"/>
          <ac:spMkLst>
            <pc:docMk/>
            <pc:sldMk cId="1218921753" sldId="326"/>
            <ac:spMk id="3" creationId="{8A0798D9-EBBA-4D01-B37E-6C4487E1A5D2}"/>
          </ac:spMkLst>
        </pc:spChg>
      </pc:sldChg>
      <pc:sldChg chg="addSp modSp">
        <pc:chgData name="" userId="feccfd06f4d4d0ff" providerId="LiveId" clId="{F4A7E22A-758E-477D-B3BE-C0280A684788}" dt="2021-05-05T16:24:25.170" v="1488" actId="20577"/>
        <pc:sldMkLst>
          <pc:docMk/>
          <pc:sldMk cId="2204190457" sldId="329"/>
        </pc:sldMkLst>
        <pc:spChg chg="mod">
          <ac:chgData name="" userId="feccfd06f4d4d0ff" providerId="LiveId" clId="{F4A7E22A-758E-477D-B3BE-C0280A684788}" dt="2021-05-05T15:48:57.301" v="1361" actId="20577"/>
          <ac:spMkLst>
            <pc:docMk/>
            <pc:sldMk cId="2204190457" sldId="329"/>
            <ac:spMk id="8" creationId="{16D1BB1F-B758-42F0-8BE8-CFC96194CBCC}"/>
          </ac:spMkLst>
        </pc:spChg>
        <pc:spChg chg="add mod">
          <ac:chgData name="" userId="feccfd06f4d4d0ff" providerId="LiveId" clId="{F4A7E22A-758E-477D-B3BE-C0280A684788}" dt="2021-05-05T16:24:25.170" v="1488" actId="20577"/>
          <ac:spMkLst>
            <pc:docMk/>
            <pc:sldMk cId="2204190457" sldId="329"/>
            <ac:spMk id="13" creationId="{72F46EA6-5883-4FEF-8AA5-3DAE28D8B3EC}"/>
          </ac:spMkLst>
        </pc:spChg>
        <pc:spChg chg="mod">
          <ac:chgData name="" userId="feccfd06f4d4d0ff" providerId="LiveId" clId="{F4A7E22A-758E-477D-B3BE-C0280A684788}" dt="2021-05-05T16:11:25.217" v="1404" actId="20577"/>
          <ac:spMkLst>
            <pc:docMk/>
            <pc:sldMk cId="2204190457" sldId="329"/>
            <ac:spMk id="23" creationId="{7E427013-C967-4BB4-BFAC-159B173CB589}"/>
          </ac:spMkLst>
        </pc:spChg>
        <pc:spChg chg="mod">
          <ac:chgData name="" userId="feccfd06f4d4d0ff" providerId="LiveId" clId="{F4A7E22A-758E-477D-B3BE-C0280A684788}" dt="2021-05-05T09:09:31.341" v="533" actId="20577"/>
          <ac:spMkLst>
            <pc:docMk/>
            <pc:sldMk cId="2204190457" sldId="329"/>
            <ac:spMk id="24" creationId="{AB5367C9-4459-424E-81AA-28FACEDA3D18}"/>
          </ac:spMkLst>
        </pc:spChg>
        <pc:graphicFrameChg chg="modGraphic">
          <ac:chgData name="" userId="feccfd06f4d4d0ff" providerId="LiveId" clId="{F4A7E22A-758E-477D-B3BE-C0280A684788}" dt="2021-05-05T11:07:04.902" v="943" actId="14734"/>
          <ac:graphicFrameMkLst>
            <pc:docMk/>
            <pc:sldMk cId="2204190457" sldId="329"/>
            <ac:graphicFrameMk id="7" creationId="{853B87CA-0D7F-4295-B104-2F1B5A41DFD8}"/>
          </ac:graphicFrameMkLst>
        </pc:graphicFrameChg>
      </pc:sldChg>
      <pc:sldChg chg="addSp modSp">
        <pc:chgData name="" userId="feccfd06f4d4d0ff" providerId="LiveId" clId="{F4A7E22A-758E-477D-B3BE-C0280A684788}" dt="2021-05-05T16:25:07.564" v="1491" actId="1076"/>
        <pc:sldMkLst>
          <pc:docMk/>
          <pc:sldMk cId="1195972665" sldId="330"/>
        </pc:sldMkLst>
        <pc:spChg chg="mod">
          <ac:chgData name="" userId="feccfd06f4d4d0ff" providerId="LiveId" clId="{F4A7E22A-758E-477D-B3BE-C0280A684788}" dt="2021-05-05T16:25:07.564" v="1491" actId="1076"/>
          <ac:spMkLst>
            <pc:docMk/>
            <pc:sldMk cId="1195972665" sldId="330"/>
            <ac:spMk id="3" creationId="{0B92D4FC-FE3F-4435-B7C4-B8E9D7505BD1}"/>
          </ac:spMkLst>
        </pc:spChg>
        <pc:spChg chg="mod">
          <ac:chgData name="" userId="feccfd06f4d4d0ff" providerId="LiveId" clId="{F4A7E22A-758E-477D-B3BE-C0280A684788}" dt="2021-05-05T16:25:07.564" v="1491" actId="1076"/>
          <ac:spMkLst>
            <pc:docMk/>
            <pc:sldMk cId="1195972665" sldId="330"/>
            <ac:spMk id="9" creationId="{4C44E66E-D1C3-4F49-A184-1CDF572CC6D2}"/>
          </ac:spMkLst>
        </pc:spChg>
        <pc:spChg chg="mod">
          <ac:chgData name="" userId="feccfd06f4d4d0ff" providerId="LiveId" clId="{F4A7E22A-758E-477D-B3BE-C0280A684788}" dt="2021-05-05T16:25:07.564" v="1491" actId="1076"/>
          <ac:spMkLst>
            <pc:docMk/>
            <pc:sldMk cId="1195972665" sldId="330"/>
            <ac:spMk id="10" creationId="{77F91D9F-1449-47FA-BCB9-577AFDDB3B1B}"/>
          </ac:spMkLst>
        </pc:spChg>
        <pc:spChg chg="mod">
          <ac:chgData name="" userId="feccfd06f4d4d0ff" providerId="LiveId" clId="{F4A7E22A-758E-477D-B3BE-C0280A684788}" dt="2021-05-05T16:11:41.518" v="1412" actId="20577"/>
          <ac:spMkLst>
            <pc:docMk/>
            <pc:sldMk cId="1195972665" sldId="330"/>
            <ac:spMk id="13" creationId="{10296345-EBE4-4F0F-AB07-252F72918D36}"/>
          </ac:spMkLst>
        </pc:spChg>
        <pc:spChg chg="mod">
          <ac:chgData name="" userId="feccfd06f4d4d0ff" providerId="LiveId" clId="{F4A7E22A-758E-477D-B3BE-C0280A684788}" dt="2021-05-05T16:25:07.564" v="1491" actId="1076"/>
          <ac:spMkLst>
            <pc:docMk/>
            <pc:sldMk cId="1195972665" sldId="330"/>
            <ac:spMk id="14" creationId="{FA95D906-1709-4700-9BCE-3570CCE63471}"/>
          </ac:spMkLst>
        </pc:spChg>
        <pc:spChg chg="mod">
          <ac:chgData name="" userId="feccfd06f4d4d0ff" providerId="LiveId" clId="{F4A7E22A-758E-477D-B3BE-C0280A684788}" dt="2021-05-05T16:11:34.892" v="1408" actId="20577"/>
          <ac:spMkLst>
            <pc:docMk/>
            <pc:sldMk cId="1195972665" sldId="330"/>
            <ac:spMk id="20" creationId="{4CCD68ED-8772-4FAF-AD09-9E8FC6DB6954}"/>
          </ac:spMkLst>
        </pc:spChg>
        <pc:spChg chg="mod">
          <ac:chgData name="" userId="feccfd06f4d4d0ff" providerId="LiveId" clId="{F4A7E22A-758E-477D-B3BE-C0280A684788}" dt="2021-05-05T09:09:34.777" v="535" actId="20577"/>
          <ac:spMkLst>
            <pc:docMk/>
            <pc:sldMk cId="1195972665" sldId="330"/>
            <ac:spMk id="21" creationId="{E28891E4-F9C9-4508-81CC-A6627D09DD26}"/>
          </ac:spMkLst>
        </pc:spChg>
        <pc:spChg chg="add mod">
          <ac:chgData name="" userId="feccfd06f4d4d0ff" providerId="LiveId" clId="{F4A7E22A-758E-477D-B3BE-C0280A684788}" dt="2021-05-05T16:24:54.183" v="1490" actId="1076"/>
          <ac:spMkLst>
            <pc:docMk/>
            <pc:sldMk cId="1195972665" sldId="330"/>
            <ac:spMk id="23" creationId="{5F360218-29BB-4B83-BF69-D99E52525B2E}"/>
          </ac:spMkLst>
        </pc:spChg>
        <pc:cxnChg chg="mod">
          <ac:chgData name="" userId="feccfd06f4d4d0ff" providerId="LiveId" clId="{F4A7E22A-758E-477D-B3BE-C0280A684788}" dt="2021-05-05T16:25:07.564" v="1491" actId="1076"/>
          <ac:cxnSpMkLst>
            <pc:docMk/>
            <pc:sldMk cId="1195972665" sldId="330"/>
            <ac:cxnSpMk id="12" creationId="{75401F55-7C0F-4EC1-84D9-675D8AC6545A}"/>
          </ac:cxnSpMkLst>
        </pc:cxnChg>
        <pc:cxnChg chg="mod">
          <ac:chgData name="" userId="feccfd06f4d4d0ff" providerId="LiveId" clId="{F4A7E22A-758E-477D-B3BE-C0280A684788}" dt="2021-05-05T16:25:07.564" v="1491" actId="1076"/>
          <ac:cxnSpMkLst>
            <pc:docMk/>
            <pc:sldMk cId="1195972665" sldId="330"/>
            <ac:cxnSpMk id="18" creationId="{D1184B5C-3C0D-4198-A08D-F6FB92CF0C21}"/>
          </ac:cxnSpMkLst>
        </pc:cxnChg>
      </pc:sldChg>
      <pc:sldChg chg="addSp delSp modSp">
        <pc:chgData name="" userId="feccfd06f4d4d0ff" providerId="LiveId" clId="{F4A7E22A-758E-477D-B3BE-C0280A684788}" dt="2021-05-05T13:02:50.396" v="1298" actId="1036"/>
        <pc:sldMkLst>
          <pc:docMk/>
          <pc:sldMk cId="1511926335" sldId="331"/>
        </pc:sldMkLst>
        <pc:spChg chg="mod">
          <ac:chgData name="" userId="feccfd06f4d4d0ff" providerId="LiveId" clId="{F4A7E22A-758E-477D-B3BE-C0280A684788}" dt="2021-05-05T13:02:45.627" v="1287" actId="20577"/>
          <ac:spMkLst>
            <pc:docMk/>
            <pc:sldMk cId="1511926335" sldId="331"/>
            <ac:spMk id="2" creationId="{30CDDE3B-0723-4853-8C12-D49C3C9A6377}"/>
          </ac:spMkLst>
        </pc:spChg>
        <pc:spChg chg="add mod">
          <ac:chgData name="" userId="feccfd06f4d4d0ff" providerId="LiveId" clId="{F4A7E22A-758E-477D-B3BE-C0280A684788}" dt="2021-05-05T13:02:50.396" v="1298" actId="1036"/>
          <ac:spMkLst>
            <pc:docMk/>
            <pc:sldMk cId="1511926335" sldId="331"/>
            <ac:spMk id="9" creationId="{39F33A97-1830-4CD7-B200-54E4543AE571}"/>
          </ac:spMkLst>
        </pc:spChg>
        <pc:spChg chg="add mod">
          <ac:chgData name="" userId="feccfd06f4d4d0ff" providerId="LiveId" clId="{F4A7E22A-758E-477D-B3BE-C0280A684788}" dt="2021-05-05T13:02:50.396" v="1298" actId="1036"/>
          <ac:spMkLst>
            <pc:docMk/>
            <pc:sldMk cId="1511926335" sldId="331"/>
            <ac:spMk id="12" creationId="{893F0412-9DCF-4B83-9722-2D7116830C51}"/>
          </ac:spMkLst>
        </pc:spChg>
        <pc:spChg chg="mod">
          <ac:chgData name="" userId="feccfd06f4d4d0ff" providerId="LiveId" clId="{F4A7E22A-758E-477D-B3BE-C0280A684788}" dt="2021-05-05T13:00:05.246" v="1197" actId="14100"/>
          <ac:spMkLst>
            <pc:docMk/>
            <pc:sldMk cId="1511926335" sldId="331"/>
            <ac:spMk id="17" creationId="{2599D75D-1B0D-403B-960E-2C2627FBDEB5}"/>
          </ac:spMkLst>
        </pc:spChg>
        <pc:picChg chg="add del mod">
          <ac:chgData name="" userId="feccfd06f4d4d0ff" providerId="LiveId" clId="{F4A7E22A-758E-477D-B3BE-C0280A684788}" dt="2021-05-05T12:56:51.891" v="972" actId="478"/>
          <ac:picMkLst>
            <pc:docMk/>
            <pc:sldMk cId="1511926335" sldId="331"/>
            <ac:picMk id="3" creationId="{70F7B3FB-E519-4AC9-8681-B63EE70FB1F6}"/>
          </ac:picMkLst>
        </pc:picChg>
        <pc:picChg chg="add del mod">
          <ac:chgData name="" userId="feccfd06f4d4d0ff" providerId="LiveId" clId="{F4A7E22A-758E-477D-B3BE-C0280A684788}" dt="2021-05-05T12:57:48.277" v="976" actId="478"/>
          <ac:picMkLst>
            <pc:docMk/>
            <pc:sldMk cId="1511926335" sldId="331"/>
            <ac:picMk id="8" creationId="{6AACD539-4ACF-420E-B51A-C35E2B399E2B}"/>
          </ac:picMkLst>
        </pc:picChg>
        <pc:picChg chg="mod">
          <ac:chgData name="" userId="feccfd06f4d4d0ff" providerId="LiveId" clId="{F4A7E22A-758E-477D-B3BE-C0280A684788}" dt="2021-05-05T13:02:50.396" v="1298" actId="1036"/>
          <ac:picMkLst>
            <pc:docMk/>
            <pc:sldMk cId="1511926335" sldId="331"/>
            <ac:picMk id="14" creationId="{CB0A3A0A-184E-4997-99FA-641A33431561}"/>
          </ac:picMkLst>
        </pc:picChg>
      </pc:sldChg>
      <pc:sldChg chg="modSp">
        <pc:chgData name="" userId="feccfd06f4d4d0ff" providerId="LiveId" clId="{F4A7E22A-758E-477D-B3BE-C0280A684788}" dt="2021-05-05T11:10:29.531" v="953" actId="207"/>
        <pc:sldMkLst>
          <pc:docMk/>
          <pc:sldMk cId="3066221029" sldId="332"/>
        </pc:sldMkLst>
        <pc:spChg chg="mod">
          <ac:chgData name="" userId="feccfd06f4d4d0ff" providerId="LiveId" clId="{F4A7E22A-758E-477D-B3BE-C0280A684788}" dt="2021-05-05T11:10:29.531" v="953" actId="207"/>
          <ac:spMkLst>
            <pc:docMk/>
            <pc:sldMk cId="3066221029" sldId="332"/>
            <ac:spMk id="7" creationId="{0948D83A-6CDC-4191-BA05-CBFF810A4477}"/>
          </ac:spMkLst>
        </pc:spChg>
        <pc:spChg chg="mod">
          <ac:chgData name="" userId="feccfd06f4d4d0ff" providerId="LiveId" clId="{F4A7E22A-758E-477D-B3BE-C0280A684788}" dt="2021-05-05T11:10:12.512" v="951" actId="207"/>
          <ac:spMkLst>
            <pc:docMk/>
            <pc:sldMk cId="3066221029" sldId="332"/>
            <ac:spMk id="8" creationId="{C62C18F7-9958-4566-82B2-61793F2394ED}"/>
          </ac:spMkLst>
        </pc:spChg>
        <pc:spChg chg="mod">
          <ac:chgData name="" userId="feccfd06f4d4d0ff" providerId="LiveId" clId="{F4A7E22A-758E-477D-B3BE-C0280A684788}" dt="2021-05-05T11:10:02.869" v="950" actId="207"/>
          <ac:spMkLst>
            <pc:docMk/>
            <pc:sldMk cId="3066221029" sldId="332"/>
            <ac:spMk id="9" creationId="{D849913C-3295-47D0-AABE-63CD4FEDB3F9}"/>
          </ac:spMkLst>
        </pc:spChg>
      </pc:sldChg>
      <pc:sldChg chg="addSp delSp modSp add">
        <pc:chgData name="" userId="feccfd06f4d4d0ff" providerId="LiveId" clId="{F4A7E22A-758E-477D-B3BE-C0280A684788}" dt="2021-05-05T16:26:21.892" v="1508" actId="1035"/>
        <pc:sldMkLst>
          <pc:docMk/>
          <pc:sldMk cId="1919484129" sldId="333"/>
        </pc:sldMkLst>
        <pc:spChg chg="del">
          <ac:chgData name="" userId="feccfd06f4d4d0ff" providerId="LiveId" clId="{F4A7E22A-758E-477D-B3BE-C0280A684788}" dt="2021-05-05T09:10:01.842" v="542" actId="478"/>
          <ac:spMkLst>
            <pc:docMk/>
            <pc:sldMk cId="1919484129" sldId="333"/>
            <ac:spMk id="3" creationId="{0B92D4FC-FE3F-4435-B7C4-B8E9D7505BD1}"/>
          </ac:spMkLst>
        </pc:spChg>
        <pc:spChg chg="add del">
          <ac:chgData name="" userId="feccfd06f4d4d0ff" providerId="LiveId" clId="{F4A7E22A-758E-477D-B3BE-C0280A684788}" dt="2021-05-05T09:28:20.955" v="590"/>
          <ac:spMkLst>
            <pc:docMk/>
            <pc:sldMk cId="1919484129" sldId="333"/>
            <ac:spMk id="3" creationId="{E881BA3A-F4E6-41C0-8079-D158E8E270AA}"/>
          </ac:spMkLst>
        </pc:spChg>
        <pc:spChg chg="add mod">
          <ac:chgData name="" userId="feccfd06f4d4d0ff" providerId="LiveId" clId="{F4A7E22A-758E-477D-B3BE-C0280A684788}" dt="2021-05-05T09:34:01.991" v="645" actId="1076"/>
          <ac:spMkLst>
            <pc:docMk/>
            <pc:sldMk cId="1919484129" sldId="333"/>
            <ac:spMk id="7" creationId="{8E9842BF-9DA4-46C6-B48B-81383A21E380}"/>
          </ac:spMkLst>
        </pc:spChg>
        <pc:spChg chg="add del">
          <ac:chgData name="" userId="feccfd06f4d4d0ff" providerId="LiveId" clId="{F4A7E22A-758E-477D-B3BE-C0280A684788}" dt="2021-05-05T09:10:25.822" v="546"/>
          <ac:spMkLst>
            <pc:docMk/>
            <pc:sldMk cId="1919484129" sldId="333"/>
            <ac:spMk id="7" creationId="{D78EAEED-D4F3-49C8-9917-3F0BE6678A75}"/>
          </ac:spMkLst>
        </pc:spChg>
        <pc:spChg chg="add del">
          <ac:chgData name="" userId="feccfd06f4d4d0ff" providerId="LiveId" clId="{F4A7E22A-758E-477D-B3BE-C0280A684788}" dt="2021-05-05T09:10:26.861" v="548"/>
          <ac:spMkLst>
            <pc:docMk/>
            <pc:sldMk cId="1919484129" sldId="333"/>
            <ac:spMk id="8" creationId="{7EDAF462-49F4-40D7-B848-E3D69EA39BC2}"/>
          </ac:spMkLst>
        </pc:spChg>
        <pc:spChg chg="add mod">
          <ac:chgData name="" userId="feccfd06f4d4d0ff" providerId="LiveId" clId="{F4A7E22A-758E-477D-B3BE-C0280A684788}" dt="2021-05-05T11:09:08.388" v="949" actId="207"/>
          <ac:spMkLst>
            <pc:docMk/>
            <pc:sldMk cId="1919484129" sldId="333"/>
            <ac:spMk id="8" creationId="{F88FC77D-39B3-4262-84A3-19B943F883E9}"/>
          </ac:spMkLst>
        </pc:spChg>
        <pc:spChg chg="del">
          <ac:chgData name="" userId="feccfd06f4d4d0ff" providerId="LiveId" clId="{F4A7E22A-758E-477D-B3BE-C0280A684788}" dt="2021-05-05T09:10:01.842" v="542" actId="478"/>
          <ac:spMkLst>
            <pc:docMk/>
            <pc:sldMk cId="1919484129" sldId="333"/>
            <ac:spMk id="9" creationId="{4C44E66E-D1C3-4F49-A184-1CDF572CC6D2}"/>
          </ac:spMkLst>
        </pc:spChg>
        <pc:spChg chg="add mod">
          <ac:chgData name="" userId="feccfd06f4d4d0ff" providerId="LiveId" clId="{F4A7E22A-758E-477D-B3BE-C0280A684788}" dt="2021-05-05T11:08:18.842" v="946" actId="20577"/>
          <ac:spMkLst>
            <pc:docMk/>
            <pc:sldMk cId="1919484129" sldId="333"/>
            <ac:spMk id="9" creationId="{5CAE97C0-474A-4586-98B1-ACB549AF3277}"/>
          </ac:spMkLst>
        </pc:spChg>
        <pc:spChg chg="del">
          <ac:chgData name="" userId="feccfd06f4d4d0ff" providerId="LiveId" clId="{F4A7E22A-758E-477D-B3BE-C0280A684788}" dt="2021-05-05T09:10:01.842" v="542" actId="478"/>
          <ac:spMkLst>
            <pc:docMk/>
            <pc:sldMk cId="1919484129" sldId="333"/>
            <ac:spMk id="10" creationId="{77F91D9F-1449-47FA-BCB9-577AFDDB3B1B}"/>
          </ac:spMkLst>
        </pc:spChg>
        <pc:spChg chg="add del">
          <ac:chgData name="" userId="feccfd06f4d4d0ff" providerId="LiveId" clId="{F4A7E22A-758E-477D-B3BE-C0280A684788}" dt="2021-05-05T09:10:54.405" v="550"/>
          <ac:spMkLst>
            <pc:docMk/>
            <pc:sldMk cId="1919484129" sldId="333"/>
            <ac:spMk id="11" creationId="{E542B30C-56A7-4A2F-B651-325536481D54}"/>
          </ac:spMkLst>
        </pc:spChg>
        <pc:spChg chg="mod">
          <ac:chgData name="" userId="feccfd06f4d4d0ff" providerId="LiveId" clId="{F4A7E22A-758E-477D-B3BE-C0280A684788}" dt="2021-05-05T16:11:48.679" v="1416" actId="20577"/>
          <ac:spMkLst>
            <pc:docMk/>
            <pc:sldMk cId="1919484129" sldId="333"/>
            <ac:spMk id="13" creationId="{10296345-EBE4-4F0F-AB07-252F72918D36}"/>
          </ac:spMkLst>
        </pc:spChg>
        <pc:spChg chg="add mod">
          <ac:chgData name="" userId="feccfd06f4d4d0ff" providerId="LiveId" clId="{F4A7E22A-758E-477D-B3BE-C0280A684788}" dt="2021-05-05T16:26:21.892" v="1508" actId="1035"/>
          <ac:spMkLst>
            <pc:docMk/>
            <pc:sldMk cId="1919484129" sldId="333"/>
            <ac:spMk id="14" creationId="{EC1AFC42-63B3-4DFB-B390-5F1AAB2FE65F}"/>
          </ac:spMkLst>
        </pc:spChg>
        <pc:spChg chg="del">
          <ac:chgData name="" userId="feccfd06f4d4d0ff" providerId="LiveId" clId="{F4A7E22A-758E-477D-B3BE-C0280A684788}" dt="2021-05-05T09:10:01.842" v="542" actId="478"/>
          <ac:spMkLst>
            <pc:docMk/>
            <pc:sldMk cId="1919484129" sldId="333"/>
            <ac:spMk id="14" creationId="{FA95D906-1709-4700-9BCE-3570CCE63471}"/>
          </ac:spMkLst>
        </pc:spChg>
        <pc:spChg chg="add del mod">
          <ac:chgData name="" userId="feccfd06f4d4d0ff" providerId="LiveId" clId="{F4A7E22A-758E-477D-B3BE-C0280A684788}" dt="2021-05-05T16:25:28.304" v="1495" actId="478"/>
          <ac:spMkLst>
            <pc:docMk/>
            <pc:sldMk cId="1919484129" sldId="333"/>
            <ac:spMk id="15" creationId="{D85D6DF6-91BB-4066-8E5D-DD80BD1866D8}"/>
          </ac:spMkLst>
        </pc:spChg>
        <pc:spChg chg="del">
          <ac:chgData name="" userId="feccfd06f4d4d0ff" providerId="LiveId" clId="{F4A7E22A-758E-477D-B3BE-C0280A684788}" dt="2021-05-05T09:09:58.743" v="541" actId="478"/>
          <ac:spMkLst>
            <pc:docMk/>
            <pc:sldMk cId="1919484129" sldId="333"/>
            <ac:spMk id="16" creationId="{9A2078B6-8B49-45C8-8B6A-9F892CFBEE0C}"/>
          </ac:spMkLst>
        </pc:spChg>
        <pc:spChg chg="add del">
          <ac:chgData name="" userId="feccfd06f4d4d0ff" providerId="LiveId" clId="{F4A7E22A-758E-477D-B3BE-C0280A684788}" dt="2021-05-05T09:11:46.642" v="552"/>
          <ac:spMkLst>
            <pc:docMk/>
            <pc:sldMk cId="1919484129" sldId="333"/>
            <ac:spMk id="17" creationId="{7FB9B99E-F9D6-4E3B-B057-6272CB43F7F3}"/>
          </ac:spMkLst>
        </pc:spChg>
        <pc:spChg chg="mod">
          <ac:chgData name="" userId="feccfd06f4d4d0ff" providerId="LiveId" clId="{F4A7E22A-758E-477D-B3BE-C0280A684788}" dt="2021-05-05T09:09:52.557" v="539"/>
          <ac:spMkLst>
            <pc:docMk/>
            <pc:sldMk cId="1919484129" sldId="333"/>
            <ac:spMk id="20" creationId="{4CCD68ED-8772-4FAF-AD09-9E8FC6DB6954}"/>
          </ac:spMkLst>
        </pc:spChg>
        <pc:spChg chg="mod">
          <ac:chgData name="" userId="feccfd06f4d4d0ff" providerId="LiveId" clId="{F4A7E22A-758E-477D-B3BE-C0280A684788}" dt="2021-05-05T09:33:21.501" v="639" actId="207"/>
          <ac:spMkLst>
            <pc:docMk/>
            <pc:sldMk cId="1919484129" sldId="333"/>
            <ac:spMk id="21" creationId="{E28891E4-F9C9-4508-81CC-A6627D09DD26}"/>
          </ac:spMkLst>
        </pc:spChg>
        <pc:spChg chg="add del mod">
          <ac:chgData name="" userId="feccfd06f4d4d0ff" providerId="LiveId" clId="{F4A7E22A-758E-477D-B3BE-C0280A684788}" dt="2021-05-05T09:12:05.849" v="556"/>
          <ac:spMkLst>
            <pc:docMk/>
            <pc:sldMk cId="1919484129" sldId="333"/>
            <ac:spMk id="23" creationId="{DC8A0F1E-181D-453C-A8D3-576AD6F524AC}"/>
          </ac:spMkLst>
        </pc:spChg>
        <pc:spChg chg="add del">
          <ac:chgData name="" userId="feccfd06f4d4d0ff" providerId="LiveId" clId="{F4A7E22A-758E-477D-B3BE-C0280A684788}" dt="2021-05-05T09:13:23.863" v="558"/>
          <ac:spMkLst>
            <pc:docMk/>
            <pc:sldMk cId="1919484129" sldId="333"/>
            <ac:spMk id="24" creationId="{02D268D5-D27F-4EA0-8876-8823E867FE04}"/>
          </ac:spMkLst>
        </pc:spChg>
        <pc:spChg chg="add del">
          <ac:chgData name="" userId="feccfd06f4d4d0ff" providerId="LiveId" clId="{F4A7E22A-758E-477D-B3BE-C0280A684788}" dt="2021-05-05T09:13:31.405" v="560" actId="478"/>
          <ac:spMkLst>
            <pc:docMk/>
            <pc:sldMk cId="1919484129" sldId="333"/>
            <ac:spMk id="25" creationId="{43F54ADD-3E0A-4652-8E8C-CAC93DE4FC13}"/>
          </ac:spMkLst>
        </pc:spChg>
        <pc:spChg chg="add del">
          <ac:chgData name="" userId="feccfd06f4d4d0ff" providerId="LiveId" clId="{F4A7E22A-758E-477D-B3BE-C0280A684788}" dt="2021-05-05T09:15:07.406" v="568"/>
          <ac:spMkLst>
            <pc:docMk/>
            <pc:sldMk cId="1919484129" sldId="333"/>
            <ac:spMk id="28" creationId="{6AC355D9-8AF9-416D-9A8C-EDDB16E6DAD6}"/>
          </ac:spMkLst>
        </pc:spChg>
        <pc:spChg chg="add del">
          <ac:chgData name="" userId="feccfd06f4d4d0ff" providerId="LiveId" clId="{F4A7E22A-758E-477D-B3BE-C0280A684788}" dt="2021-05-05T09:16:35.043" v="574"/>
          <ac:spMkLst>
            <pc:docMk/>
            <pc:sldMk cId="1919484129" sldId="333"/>
            <ac:spMk id="29" creationId="{F876B502-F605-46C0-9BBB-2BC6E668395D}"/>
          </ac:spMkLst>
        </pc:spChg>
        <pc:spChg chg="add del">
          <ac:chgData name="" userId="feccfd06f4d4d0ff" providerId="LiveId" clId="{F4A7E22A-758E-477D-B3BE-C0280A684788}" dt="2021-05-05T09:17:22.485" v="578"/>
          <ac:spMkLst>
            <pc:docMk/>
            <pc:sldMk cId="1919484129" sldId="333"/>
            <ac:spMk id="31" creationId="{A2E2700C-5913-4730-A288-7F3EAD92F2B8}"/>
          </ac:spMkLst>
        </pc:spChg>
        <pc:spChg chg="add del">
          <ac:chgData name="" userId="feccfd06f4d4d0ff" providerId="LiveId" clId="{F4A7E22A-758E-477D-B3BE-C0280A684788}" dt="2021-05-05T09:27:02.018" v="588"/>
          <ac:spMkLst>
            <pc:docMk/>
            <pc:sldMk cId="1919484129" sldId="333"/>
            <ac:spMk id="34" creationId="{646CDD64-2870-41D8-8C19-6BD6D5255281}"/>
          </ac:spMkLst>
        </pc:spChg>
        <pc:graphicFrameChg chg="add mod modGraphic">
          <ac:chgData name="" userId="feccfd06f4d4d0ff" providerId="LiveId" clId="{F4A7E22A-758E-477D-B3BE-C0280A684788}" dt="2021-05-05T15:44:45.911" v="1359" actId="20577"/>
          <ac:graphicFrameMkLst>
            <pc:docMk/>
            <pc:sldMk cId="1919484129" sldId="333"/>
            <ac:graphicFrameMk id="12" creationId="{73F111E5-53E1-4B0B-B5CE-7C1E60AE7263}"/>
          </ac:graphicFrameMkLst>
        </pc:graphicFrameChg>
        <pc:graphicFrameChg chg="del">
          <ac:chgData name="" userId="feccfd06f4d4d0ff" providerId="LiveId" clId="{F4A7E22A-758E-477D-B3BE-C0280A684788}" dt="2021-05-05T09:09:56.516" v="540" actId="478"/>
          <ac:graphicFrameMkLst>
            <pc:docMk/>
            <pc:sldMk cId="1919484129" sldId="333"/>
            <ac:graphicFrameMk id="15" creationId="{5D6C3A0B-0DFC-4D68-8368-F685255F7FEC}"/>
          </ac:graphicFrameMkLst>
        </pc:graphicFrameChg>
        <pc:picChg chg="del">
          <ac:chgData name="" userId="feccfd06f4d4d0ff" providerId="LiveId" clId="{F4A7E22A-758E-477D-B3BE-C0280A684788}" dt="2021-05-05T09:32:58.552" v="636" actId="478"/>
          <ac:picMkLst>
            <pc:docMk/>
            <pc:sldMk cId="1919484129" sldId="333"/>
            <ac:picMk id="22" creationId="{328FD8AD-D59C-40D8-BF37-D2FF5FA80A34}"/>
          </ac:picMkLst>
        </pc:picChg>
        <pc:picChg chg="add del mod">
          <ac:chgData name="" userId="feccfd06f4d4d0ff" providerId="LiveId" clId="{F4A7E22A-758E-477D-B3BE-C0280A684788}" dt="2021-05-05T09:13:54.827" v="564"/>
          <ac:picMkLst>
            <pc:docMk/>
            <pc:sldMk cId="1919484129" sldId="333"/>
            <ac:picMk id="26" creationId="{E0E0B730-02C0-41A0-8B0F-C156822ECDF0}"/>
          </ac:picMkLst>
        </pc:picChg>
        <pc:picChg chg="add del">
          <ac:chgData name="" userId="feccfd06f4d4d0ff" providerId="LiveId" clId="{F4A7E22A-758E-477D-B3BE-C0280A684788}" dt="2021-05-05T09:14:11.295" v="566"/>
          <ac:picMkLst>
            <pc:docMk/>
            <pc:sldMk cId="1919484129" sldId="333"/>
            <ac:picMk id="27" creationId="{30D4FC3B-11BB-4ED8-BCE7-120A23B10EF3}"/>
          </ac:picMkLst>
        </pc:picChg>
        <pc:picChg chg="add del">
          <ac:chgData name="" userId="feccfd06f4d4d0ff" providerId="LiveId" clId="{F4A7E22A-758E-477D-B3BE-C0280A684788}" dt="2021-05-05T09:16:36.916" v="576" actId="478"/>
          <ac:picMkLst>
            <pc:docMk/>
            <pc:sldMk cId="1919484129" sldId="333"/>
            <ac:picMk id="30" creationId="{FC48676D-8F59-4379-B451-FB78329E4477}"/>
          </ac:picMkLst>
        </pc:picChg>
        <pc:picChg chg="add del mod">
          <ac:chgData name="" userId="feccfd06f4d4d0ff" providerId="LiveId" clId="{F4A7E22A-758E-477D-B3BE-C0280A684788}" dt="2021-05-05T09:23:27.078" v="582" actId="478"/>
          <ac:picMkLst>
            <pc:docMk/>
            <pc:sldMk cId="1919484129" sldId="333"/>
            <ac:picMk id="32" creationId="{64F174A2-2DCE-46D0-B6A0-384F96964CD5}"/>
          </ac:picMkLst>
        </pc:picChg>
        <pc:picChg chg="add del">
          <ac:chgData name="" userId="feccfd06f4d4d0ff" providerId="LiveId" clId="{F4A7E22A-758E-477D-B3BE-C0280A684788}" dt="2021-05-05T09:25:45.902" v="584" actId="478"/>
          <ac:picMkLst>
            <pc:docMk/>
            <pc:sldMk cId="1919484129" sldId="333"/>
            <ac:picMk id="33" creationId="{9565D70E-423F-4006-852E-84E9BF707BEE}"/>
          </ac:picMkLst>
        </pc:picChg>
        <pc:cxnChg chg="del">
          <ac:chgData name="" userId="feccfd06f4d4d0ff" providerId="LiveId" clId="{F4A7E22A-758E-477D-B3BE-C0280A684788}" dt="2021-05-05T09:10:01.842" v="542" actId="478"/>
          <ac:cxnSpMkLst>
            <pc:docMk/>
            <pc:sldMk cId="1919484129" sldId="333"/>
            <ac:cxnSpMk id="12" creationId="{75401F55-7C0F-4EC1-84D9-675D8AC6545A}"/>
          </ac:cxnSpMkLst>
        </pc:cxnChg>
        <pc:cxnChg chg="del">
          <ac:chgData name="" userId="feccfd06f4d4d0ff" providerId="LiveId" clId="{F4A7E22A-758E-477D-B3BE-C0280A684788}" dt="2021-05-05T09:10:01.842" v="542" actId="478"/>
          <ac:cxnSpMkLst>
            <pc:docMk/>
            <pc:sldMk cId="1919484129" sldId="333"/>
            <ac:cxnSpMk id="18" creationId="{D1184B5C-3C0D-4198-A08D-F6FB92CF0C21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141413" y="128588"/>
            <a:ext cx="3398837" cy="652462"/>
          </a:xfrm>
          <a:prstGeom prst="rect">
            <a:avLst/>
          </a:prstGeom>
        </p:spPr>
        <p:txBody>
          <a:bodyPr vert="horz" lIns="0" tIns="0" rIns="0" bIns="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dirty="0">
                <a:latin typeface="Arial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grpSp>
        <p:nvGrpSpPr>
          <p:cNvPr id="9219" name="Gruppierung 2"/>
          <p:cNvGrpSpPr>
            <a:grpSpLocks/>
          </p:cNvGrpSpPr>
          <p:nvPr/>
        </p:nvGrpSpPr>
        <p:grpSpPr bwMode="auto">
          <a:xfrm>
            <a:off x="1133475" y="0"/>
            <a:ext cx="5664200" cy="77788"/>
            <a:chOff x="1143000" y="-2"/>
            <a:chExt cx="5714999" cy="108000"/>
          </a:xfrm>
        </p:grpSpPr>
        <p:sp>
          <p:nvSpPr>
            <p:cNvPr id="7" name="Rechteck 6"/>
            <p:cNvSpPr/>
            <p:nvPr userDrawn="1"/>
          </p:nvSpPr>
          <p:spPr bwMode="auto">
            <a:xfrm>
              <a:off x="1143000" y="-2"/>
              <a:ext cx="1800353" cy="108000"/>
            </a:xfrm>
            <a:prstGeom prst="rect">
              <a:avLst/>
            </a:prstGeom>
            <a:solidFill>
              <a:srgbClr val="AA0F1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 bwMode="auto">
            <a:xfrm>
              <a:off x="2943353" y="-2"/>
              <a:ext cx="1801955" cy="108000"/>
            </a:xfrm>
            <a:prstGeom prst="rect">
              <a:avLst/>
            </a:prstGeom>
            <a:solidFill>
              <a:srgbClr val="D7471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 bwMode="auto">
            <a:xfrm>
              <a:off x="4745308" y="-2"/>
              <a:ext cx="2112691" cy="108000"/>
            </a:xfrm>
            <a:prstGeom prst="rect">
              <a:avLst/>
            </a:prstGeom>
            <a:solidFill>
              <a:srgbClr val="901B6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</p:grpSp>
      <p:sp>
        <p:nvSpPr>
          <p:cNvPr id="9220" name="Rectangle 4"/>
          <p:cNvSpPr>
            <a:spLocks noChangeArrowheads="1"/>
          </p:cNvSpPr>
          <p:nvPr/>
        </p:nvSpPr>
        <p:spPr bwMode="auto">
          <a:xfrm>
            <a:off x="4700588" y="388938"/>
            <a:ext cx="955675" cy="39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lnSpc>
                <a:spcPts val="1175"/>
              </a:lnSpc>
            </a:pPr>
            <a:r>
              <a:rPr lang="de-DE" altLang="de-DE" sz="900"/>
              <a:t>Chart</a:t>
            </a:r>
            <a:r>
              <a:rPr lang="de-DE" altLang="de-DE" sz="900">
                <a:solidFill>
                  <a:srgbClr val="000000"/>
                </a:solidFill>
              </a:rPr>
              <a:t>: </a:t>
            </a:r>
            <a:fld id="{DEABD8D7-DB7D-4262-BD90-67B58EBF3A4F}" type="slidenum">
              <a:rPr lang="de-DE" altLang="de-DE" sz="900">
                <a:solidFill>
                  <a:srgbClr val="000000"/>
                </a:solidFill>
              </a:rPr>
              <a:pPr eaLnBrk="0" hangingPunct="0">
                <a:lnSpc>
                  <a:spcPts val="1175"/>
                </a:lnSpc>
              </a:pPr>
              <a:t>‹Nr.›</a:t>
            </a:fld>
            <a:endParaRPr lang="de-DE" altLang="de-DE" sz="900"/>
          </a:p>
        </p:txBody>
      </p:sp>
      <p:pic>
        <p:nvPicPr>
          <p:cNvPr id="9221" name="Bild 7" descr="Logo_17pt.wm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175" y="9096375"/>
            <a:ext cx="104140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0"/>
          <p:cNvSpPr txBox="1">
            <a:spLocks noChangeArrowheads="1"/>
          </p:cNvSpPr>
          <p:nvPr/>
        </p:nvSpPr>
        <p:spPr bwMode="auto">
          <a:xfrm>
            <a:off x="4700588" y="139700"/>
            <a:ext cx="1042987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defPPr>
              <a:defRPr lang="de-DE"/>
            </a:defPPr>
            <a:lvl1pPr algn="l" rtl="0" eaLnBrk="0" fontAlgn="base" hangingPunct="0">
              <a:lnSpc>
                <a:spcPts val="1500"/>
              </a:lnSpc>
              <a:spcBef>
                <a:spcPts val="0"/>
              </a:spcBef>
              <a:spcAft>
                <a:spcPct val="0"/>
              </a:spcAft>
              <a:defRPr kumimoji="0" sz="1200" kern="1200">
                <a:solidFill>
                  <a:schemeClr val="tx1"/>
                </a:solidFill>
                <a:latin typeface="Arial"/>
                <a:ea typeface="ＭＳ Ｐゴシック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5pPr>
            <a:lvl6pPr marL="22860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6pPr>
            <a:lvl7pPr marL="27432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7pPr>
            <a:lvl8pPr marL="32004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8pPr>
            <a:lvl9pPr marL="36576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9pPr>
          </a:lstStyle>
          <a:p>
            <a:pPr>
              <a:lnSpc>
                <a:spcPts val="1180"/>
              </a:lnSpc>
              <a:defRPr/>
            </a:pPr>
            <a:fld id="{3A6DA0C8-B110-EF42-9B42-44D642A5B286}" type="datetime1">
              <a:rPr lang="de-DE" sz="900" smtClean="0"/>
              <a:pPr>
                <a:lnSpc>
                  <a:spcPts val="1180"/>
                </a:lnSpc>
                <a:defRPr/>
              </a:pPr>
              <a:t>10.05.2021</a:t>
            </a:fld>
            <a:endParaRPr lang="de-DE" sz="900" dirty="0"/>
          </a:p>
        </p:txBody>
      </p:sp>
      <p:sp>
        <p:nvSpPr>
          <p:cNvPr id="14" name="Fußzeilenplatzhalter 3"/>
          <p:cNvSpPr txBox="1">
            <a:spLocks/>
          </p:cNvSpPr>
          <p:nvPr/>
        </p:nvSpPr>
        <p:spPr>
          <a:xfrm>
            <a:off x="1133475" y="9105900"/>
            <a:ext cx="3924300" cy="89535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defRPr kumimoji="1" sz="1200" b="1" i="0" kern="1200">
                <a:solidFill>
                  <a:srgbClr val="141313"/>
                </a:solidFill>
                <a:latin typeface="Arial"/>
                <a:ea typeface="ＭＳ Ｐゴシック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5pPr>
            <a:lvl6pPr marL="22860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6pPr>
            <a:lvl7pPr marL="27432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7pPr>
            <a:lvl8pPr marL="32004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8pPr>
            <a:lvl9pPr marL="36576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9pPr>
          </a:lstStyle>
          <a:p>
            <a:pPr>
              <a:lnSpc>
                <a:spcPts val="1180"/>
              </a:lnSpc>
              <a:defRPr/>
            </a:pPr>
            <a:r>
              <a:rPr lang="de-DE" sz="900" dirty="0"/>
              <a:t>Prof. Dr. Elisabeth Exempel</a:t>
            </a:r>
          </a:p>
          <a:p>
            <a:pPr>
              <a:lnSpc>
                <a:spcPts val="1180"/>
              </a:lnSpc>
              <a:defRPr/>
            </a:pPr>
            <a:r>
              <a:rPr lang="de-DE" sz="900" b="0" dirty="0">
                <a:solidFill>
                  <a:schemeClr val="tx1"/>
                </a:solidFill>
              </a:rPr>
              <a:t>Ggf. Funktionsbezeichnung</a:t>
            </a:r>
          </a:p>
          <a:p>
            <a:pPr>
              <a:lnSpc>
                <a:spcPts val="1180"/>
              </a:lnSpc>
              <a:defRPr/>
            </a:pPr>
            <a:r>
              <a:rPr lang="de-DE" sz="900" b="0" dirty="0">
                <a:solidFill>
                  <a:schemeClr val="tx1"/>
                </a:solidFill>
              </a:rPr>
              <a:t>Instituts- und/oder Fakultäts-, Referats-, Teambezeichnung</a:t>
            </a:r>
            <a:br>
              <a:rPr lang="de-DE" sz="900" b="0" dirty="0">
                <a:solidFill>
                  <a:schemeClr val="tx1"/>
                </a:solidFill>
              </a:rPr>
            </a:br>
            <a:r>
              <a:rPr lang="de-DE" sz="900" b="0" dirty="0">
                <a:solidFill>
                  <a:schemeClr val="tx1"/>
                </a:solidFill>
              </a:rPr>
              <a:t>maximal drei Zeilen möglich (editierbar im </a:t>
            </a:r>
            <a:r>
              <a:rPr lang="de-DE" sz="900" b="0" dirty="0" err="1">
                <a:solidFill>
                  <a:schemeClr val="tx1"/>
                </a:solidFill>
              </a:rPr>
              <a:t>Foliemaster</a:t>
            </a:r>
            <a:r>
              <a:rPr lang="de-DE" sz="900" b="0" dirty="0">
                <a:solidFill>
                  <a:schemeClr val="tx1"/>
                </a:solidFill>
              </a:rPr>
              <a:t>)</a:t>
            </a:r>
          </a:p>
          <a:p>
            <a:pPr>
              <a:lnSpc>
                <a:spcPts val="1180"/>
              </a:lnSpc>
              <a:defRPr/>
            </a:pP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269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7663" y="744538"/>
            <a:ext cx="4978400" cy="2800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133475" y="3697288"/>
            <a:ext cx="5414963" cy="47847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8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141413" y="150813"/>
            <a:ext cx="3398837" cy="4826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dirty="0">
                <a:latin typeface="Arial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grpSp>
        <p:nvGrpSpPr>
          <p:cNvPr id="7173" name="Gruppierung 1"/>
          <p:cNvGrpSpPr>
            <a:grpSpLocks/>
          </p:cNvGrpSpPr>
          <p:nvPr/>
        </p:nvGrpSpPr>
        <p:grpSpPr bwMode="auto">
          <a:xfrm>
            <a:off x="1133475" y="0"/>
            <a:ext cx="5664200" cy="77788"/>
            <a:chOff x="1143000" y="-2"/>
            <a:chExt cx="5714999" cy="108000"/>
          </a:xfrm>
        </p:grpSpPr>
        <p:sp>
          <p:nvSpPr>
            <p:cNvPr id="9" name="Rechteck 8"/>
            <p:cNvSpPr/>
            <p:nvPr/>
          </p:nvSpPr>
          <p:spPr bwMode="auto">
            <a:xfrm>
              <a:off x="1143000" y="-2"/>
              <a:ext cx="1800353" cy="108000"/>
            </a:xfrm>
            <a:prstGeom prst="rect">
              <a:avLst/>
            </a:prstGeom>
            <a:solidFill>
              <a:srgbClr val="AA0F1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2943353" y="-2"/>
              <a:ext cx="1801955" cy="108000"/>
            </a:xfrm>
            <a:prstGeom prst="rect">
              <a:avLst/>
            </a:prstGeom>
            <a:solidFill>
              <a:srgbClr val="D7471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4745308" y="-2"/>
              <a:ext cx="2112691" cy="108000"/>
            </a:xfrm>
            <a:prstGeom prst="rect">
              <a:avLst/>
            </a:prstGeom>
            <a:solidFill>
              <a:srgbClr val="901B6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</p:grpSp>
      <p:sp>
        <p:nvSpPr>
          <p:cNvPr id="7174" name="Rectangle 4"/>
          <p:cNvSpPr>
            <a:spLocks noChangeArrowheads="1"/>
          </p:cNvSpPr>
          <p:nvPr/>
        </p:nvSpPr>
        <p:spPr bwMode="auto">
          <a:xfrm>
            <a:off x="4700588" y="411163"/>
            <a:ext cx="955675" cy="39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lnSpc>
                <a:spcPts val="1175"/>
              </a:lnSpc>
            </a:pPr>
            <a:r>
              <a:rPr lang="de-DE" altLang="de-DE" sz="900"/>
              <a:t>Chart</a:t>
            </a:r>
            <a:r>
              <a:rPr lang="de-DE" altLang="de-DE" sz="900">
                <a:solidFill>
                  <a:srgbClr val="000000"/>
                </a:solidFill>
              </a:rPr>
              <a:t>: </a:t>
            </a:r>
            <a:fld id="{461BB4A2-88BF-4F1A-ADC3-F64B0D1FA15C}" type="slidenum">
              <a:rPr lang="de-DE" altLang="de-DE" sz="900">
                <a:solidFill>
                  <a:srgbClr val="000000"/>
                </a:solidFill>
              </a:rPr>
              <a:pPr eaLnBrk="0" hangingPunct="0">
                <a:lnSpc>
                  <a:spcPts val="1175"/>
                </a:lnSpc>
              </a:pPr>
              <a:t>‹Nr.›</a:t>
            </a:fld>
            <a:endParaRPr lang="de-DE" altLang="de-DE" sz="900"/>
          </a:p>
        </p:txBody>
      </p:sp>
      <p:pic>
        <p:nvPicPr>
          <p:cNvPr id="7175" name="Bild 7" descr="Logo_17pt.wm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175" y="8851900"/>
            <a:ext cx="1041400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0"/>
          <p:cNvSpPr txBox="1">
            <a:spLocks noChangeArrowheads="1"/>
          </p:cNvSpPr>
          <p:nvPr/>
        </p:nvSpPr>
        <p:spPr bwMode="auto">
          <a:xfrm>
            <a:off x="4700588" y="161925"/>
            <a:ext cx="1042987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defPPr>
              <a:defRPr lang="de-DE"/>
            </a:defPPr>
            <a:lvl1pPr algn="l" rtl="0" eaLnBrk="0" fontAlgn="base" hangingPunct="0">
              <a:lnSpc>
                <a:spcPts val="1500"/>
              </a:lnSpc>
              <a:spcBef>
                <a:spcPts val="0"/>
              </a:spcBef>
              <a:spcAft>
                <a:spcPct val="0"/>
              </a:spcAft>
              <a:defRPr kumimoji="0" sz="1200" kern="1200">
                <a:solidFill>
                  <a:schemeClr val="tx1"/>
                </a:solidFill>
                <a:latin typeface="Arial"/>
                <a:ea typeface="ＭＳ Ｐゴシック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5pPr>
            <a:lvl6pPr marL="22860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6pPr>
            <a:lvl7pPr marL="27432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7pPr>
            <a:lvl8pPr marL="32004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8pPr>
            <a:lvl9pPr marL="36576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9pPr>
          </a:lstStyle>
          <a:p>
            <a:pPr>
              <a:lnSpc>
                <a:spcPts val="1180"/>
              </a:lnSpc>
              <a:defRPr/>
            </a:pPr>
            <a:fld id="{3A6DA0C8-B110-EF42-9B42-44D642A5B286}" type="datetime1">
              <a:rPr lang="de-DE" sz="900" smtClean="0"/>
              <a:pPr>
                <a:lnSpc>
                  <a:spcPts val="1180"/>
                </a:lnSpc>
                <a:defRPr/>
              </a:pPr>
              <a:t>10.05.2021</a:t>
            </a:fld>
            <a:endParaRPr lang="de-DE" sz="900" dirty="0"/>
          </a:p>
        </p:txBody>
      </p:sp>
      <p:sp>
        <p:nvSpPr>
          <p:cNvPr id="15" name="Fußzeilenplatzhalter 3"/>
          <p:cNvSpPr txBox="1">
            <a:spLocks/>
          </p:cNvSpPr>
          <p:nvPr/>
        </p:nvSpPr>
        <p:spPr>
          <a:xfrm>
            <a:off x="1133475" y="8861425"/>
            <a:ext cx="3924300" cy="89535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algn="l" rtl="0" fontAlgn="base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defRPr kumimoji="1" sz="1200" b="1" i="0" kern="1200">
                <a:solidFill>
                  <a:srgbClr val="141313"/>
                </a:solidFill>
                <a:latin typeface="Arial"/>
                <a:ea typeface="ＭＳ Ｐゴシック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5pPr>
            <a:lvl6pPr marL="22860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6pPr>
            <a:lvl7pPr marL="27432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7pPr>
            <a:lvl8pPr marL="32004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8pPr>
            <a:lvl9pPr marL="36576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9pPr>
          </a:lstStyle>
          <a:p>
            <a:pPr>
              <a:lnSpc>
                <a:spcPts val="1180"/>
              </a:lnSpc>
              <a:defRPr/>
            </a:pPr>
            <a:r>
              <a:rPr lang="de-DE" sz="900" dirty="0"/>
              <a:t>Prof. Dr. Elisabeth Exempel</a:t>
            </a:r>
          </a:p>
          <a:p>
            <a:pPr>
              <a:lnSpc>
                <a:spcPts val="1180"/>
              </a:lnSpc>
              <a:defRPr/>
            </a:pPr>
            <a:r>
              <a:rPr lang="de-DE" sz="900" b="0" dirty="0">
                <a:solidFill>
                  <a:schemeClr val="tx1"/>
                </a:solidFill>
              </a:rPr>
              <a:t>Ggf. Funktionsbezeichnung</a:t>
            </a:r>
          </a:p>
          <a:p>
            <a:pPr>
              <a:lnSpc>
                <a:spcPts val="1180"/>
              </a:lnSpc>
              <a:defRPr/>
            </a:pPr>
            <a:r>
              <a:rPr lang="de-DE" sz="900" b="0" dirty="0">
                <a:solidFill>
                  <a:schemeClr val="tx1"/>
                </a:solidFill>
              </a:rPr>
              <a:t>Instituts- und/oder Fakultäts-, Referats-, Teambezeichnung</a:t>
            </a:r>
            <a:br>
              <a:rPr lang="de-DE" sz="900" b="0" dirty="0">
                <a:solidFill>
                  <a:schemeClr val="tx1"/>
                </a:solidFill>
              </a:rPr>
            </a:br>
            <a:r>
              <a:rPr lang="de-DE" sz="900" b="0" dirty="0">
                <a:solidFill>
                  <a:schemeClr val="tx1"/>
                </a:solidFill>
              </a:rPr>
              <a:t>maximal drei Zeilen möglich (editierbar im </a:t>
            </a:r>
            <a:r>
              <a:rPr lang="de-DE" sz="900" b="0" dirty="0" err="1">
                <a:solidFill>
                  <a:schemeClr val="tx1"/>
                </a:solidFill>
              </a:rPr>
              <a:t>Foliemaster</a:t>
            </a:r>
            <a:r>
              <a:rPr lang="de-DE" sz="900" b="0" dirty="0">
                <a:solidFill>
                  <a:schemeClr val="tx1"/>
                </a:solidFill>
              </a:rPr>
              <a:t>)</a:t>
            </a:r>
          </a:p>
          <a:p>
            <a:pPr>
              <a:lnSpc>
                <a:spcPts val="1180"/>
              </a:lnSpc>
              <a:defRPr/>
            </a:pP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7181256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alt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seite mit groß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72000"/>
            <a:ext cx="10986000" cy="433236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206500" y="4535620"/>
            <a:ext cx="10800000" cy="708217"/>
          </a:xfrm>
          <a:prstGeom prst="rect">
            <a:avLst/>
          </a:prstGeom>
        </p:spPr>
        <p:txBody>
          <a:bodyPr tIns="0" rtlCol="0">
            <a:noAutofit/>
          </a:bodyPr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de-DE" dirty="0"/>
              <a:t>Titelmasterformat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1206000" y="5455920"/>
            <a:ext cx="10800000" cy="381020"/>
          </a:xfrm>
        </p:spPr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A299C-BD0A-4F11-93C3-2AFFB4497655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BD9B6713-36FE-4B94-85D8-9FA2DCE30A8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46063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hs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"/>
          <p:cNvSpPr>
            <a:spLocks noGrp="1"/>
          </p:cNvSpPr>
          <p:nvPr>
            <p:ph type="body" idx="27"/>
          </p:nvPr>
        </p:nvSpPr>
        <p:spPr>
          <a:xfrm>
            <a:off x="1206000" y="150124"/>
            <a:ext cx="10785474" cy="2151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Bildplatzhalter 2"/>
          <p:cNvSpPr>
            <a:spLocks noGrp="1"/>
          </p:cNvSpPr>
          <p:nvPr>
            <p:ph type="pic" idx="1"/>
          </p:nvPr>
        </p:nvSpPr>
        <p:spPr>
          <a:xfrm>
            <a:off x="1206000" y="539920"/>
            <a:ext cx="3456000" cy="219606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2" name="Textplatzhalter 2"/>
          <p:cNvSpPr>
            <a:spLocks noGrp="1"/>
          </p:cNvSpPr>
          <p:nvPr>
            <p:ph type="body" idx="13"/>
          </p:nvPr>
        </p:nvSpPr>
        <p:spPr>
          <a:xfrm>
            <a:off x="1206000" y="2812230"/>
            <a:ext cx="3456000" cy="3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2"/>
          <p:cNvSpPr>
            <a:spLocks noGrp="1"/>
          </p:cNvSpPr>
          <p:nvPr>
            <p:ph type="pic" idx="14"/>
          </p:nvPr>
        </p:nvSpPr>
        <p:spPr>
          <a:xfrm>
            <a:off x="4893213" y="539920"/>
            <a:ext cx="3456000" cy="219606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idx="15"/>
          </p:nvPr>
        </p:nvSpPr>
        <p:spPr>
          <a:xfrm>
            <a:off x="4893213" y="2812230"/>
            <a:ext cx="3456000" cy="3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Bildplatzhalter 2"/>
          <p:cNvSpPr>
            <a:spLocks noGrp="1"/>
          </p:cNvSpPr>
          <p:nvPr>
            <p:ph type="pic" idx="16"/>
          </p:nvPr>
        </p:nvSpPr>
        <p:spPr>
          <a:xfrm>
            <a:off x="8564241" y="539920"/>
            <a:ext cx="3456000" cy="219606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idx="17"/>
          </p:nvPr>
        </p:nvSpPr>
        <p:spPr>
          <a:xfrm>
            <a:off x="8564241" y="2812230"/>
            <a:ext cx="3456000" cy="3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Bildplatzhalter 2"/>
          <p:cNvSpPr>
            <a:spLocks noGrp="1"/>
          </p:cNvSpPr>
          <p:nvPr>
            <p:ph type="pic" idx="28"/>
          </p:nvPr>
        </p:nvSpPr>
        <p:spPr>
          <a:xfrm>
            <a:off x="1206000" y="3201819"/>
            <a:ext cx="3456000" cy="219606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idx="29"/>
          </p:nvPr>
        </p:nvSpPr>
        <p:spPr>
          <a:xfrm>
            <a:off x="1206000" y="5474129"/>
            <a:ext cx="3456000" cy="3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2"/>
          <p:cNvSpPr>
            <a:spLocks noGrp="1"/>
          </p:cNvSpPr>
          <p:nvPr>
            <p:ph type="pic" idx="30"/>
          </p:nvPr>
        </p:nvSpPr>
        <p:spPr>
          <a:xfrm>
            <a:off x="4890512" y="3201819"/>
            <a:ext cx="3456000" cy="219606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30" name="Textplatzhalter 2"/>
          <p:cNvSpPr>
            <a:spLocks noGrp="1"/>
          </p:cNvSpPr>
          <p:nvPr>
            <p:ph type="body" idx="31"/>
          </p:nvPr>
        </p:nvSpPr>
        <p:spPr>
          <a:xfrm>
            <a:off x="4890512" y="5474129"/>
            <a:ext cx="3456000" cy="3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Bildplatzhalter 2"/>
          <p:cNvSpPr>
            <a:spLocks noGrp="1"/>
          </p:cNvSpPr>
          <p:nvPr>
            <p:ph type="pic" idx="32"/>
          </p:nvPr>
        </p:nvSpPr>
        <p:spPr>
          <a:xfrm>
            <a:off x="8558124" y="3201819"/>
            <a:ext cx="3456000" cy="219606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32" name="Textplatzhalter 2"/>
          <p:cNvSpPr>
            <a:spLocks noGrp="1"/>
          </p:cNvSpPr>
          <p:nvPr>
            <p:ph type="body" idx="33"/>
          </p:nvPr>
        </p:nvSpPr>
        <p:spPr>
          <a:xfrm>
            <a:off x="8558124" y="5474129"/>
            <a:ext cx="3456000" cy="3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3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6DA79B-A835-414C-9EF3-36DAC407AD4E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68BD526D-A506-4272-90FB-C6A2218A9A7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5536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lnSpc>
                <a:spcPts val="3000"/>
              </a:lnSpc>
              <a:defRPr baseline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/>
          </p:nvPr>
        </p:nvSpPr>
        <p:spPr>
          <a:xfrm>
            <a:off x="1204913" y="1548000"/>
            <a:ext cx="10799762" cy="4320000"/>
          </a:xfrm>
        </p:spPr>
        <p:txBody>
          <a:bodyPr/>
          <a:lstStyle>
            <a:lvl1pPr>
              <a:lnSpc>
                <a:spcPct val="112000"/>
              </a:lnSpc>
              <a:defRPr sz="1800">
                <a:latin typeface="Arial" pitchFamily="34" charset="0"/>
                <a:cs typeface="Arial" pitchFamily="34" charset="0"/>
              </a:defRPr>
            </a:lvl1pPr>
            <a:lvl2pPr>
              <a:lnSpc>
                <a:spcPct val="112000"/>
              </a:lnSpc>
              <a:spcBef>
                <a:spcPts val="0"/>
              </a:spcBef>
              <a:defRPr sz="1800">
                <a:latin typeface="Arial" pitchFamily="34" charset="0"/>
                <a:cs typeface="Arial" pitchFamily="34" charset="0"/>
              </a:defRPr>
            </a:lvl2pPr>
            <a:lvl3pPr>
              <a:lnSpc>
                <a:spcPct val="112000"/>
              </a:lnSpc>
              <a:spcBef>
                <a:spcPts val="0"/>
              </a:spcBef>
              <a:defRPr sz="1800">
                <a:latin typeface="Arial" pitchFamily="34" charset="0"/>
                <a:cs typeface="Arial" pitchFamily="34" charset="0"/>
              </a:defRPr>
            </a:lvl3pPr>
            <a:lvl4pPr>
              <a:lnSpc>
                <a:spcPct val="112000"/>
              </a:lnSpc>
              <a:spcBef>
                <a:spcPts val="0"/>
              </a:spcBef>
              <a:defRPr sz="1800">
                <a:latin typeface="Arial" pitchFamily="34" charset="0"/>
                <a:cs typeface="Arial" pitchFamily="34" charset="0"/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3"/>
          </p:nvPr>
        </p:nvSpPr>
        <p:spPr>
          <a:xfrm>
            <a:off x="1206000" y="150124"/>
            <a:ext cx="10785474" cy="2151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4165A3-ACD9-4AA5-B95A-82DA06B8D41A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6447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1204675" y="3276600"/>
            <a:ext cx="10800000" cy="1356360"/>
          </a:xfrm>
          <a:prstGeom prst="rect">
            <a:avLst/>
          </a:prstGeom>
        </p:spPr>
        <p:txBody>
          <a:bodyPr tIns="0" rtlCol="0">
            <a:noAutofit/>
          </a:bodyPr>
          <a:lstStyle>
            <a:lvl1pPr>
              <a:lnSpc>
                <a:spcPts val="3000"/>
              </a:lnSpc>
              <a:defRPr sz="26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idx="1"/>
          </p:nvPr>
        </p:nvSpPr>
        <p:spPr>
          <a:xfrm>
            <a:off x="1206000" y="72000"/>
            <a:ext cx="10986000" cy="3067152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1206000" y="4772804"/>
            <a:ext cx="10800000" cy="1031596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F3059C-AC1D-4DB8-B34A-88D05D51CBFD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538D2255-8A42-41C6-B7FD-A8F81B1858E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5432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1206500" y="1520825"/>
            <a:ext cx="5220000" cy="4356100"/>
          </a:xfrm>
        </p:spPr>
        <p:txBody>
          <a:bodyPr/>
          <a:lstStyle>
            <a:lvl1pPr>
              <a:lnSpc>
                <a:spcPct val="112000"/>
              </a:lnSpc>
              <a:spcAft>
                <a:spcPts val="600"/>
              </a:spcAft>
              <a:defRPr sz="1800"/>
            </a:lvl1pPr>
            <a:lvl2pPr>
              <a:lnSpc>
                <a:spcPct val="112000"/>
              </a:lnSpc>
              <a:spcBef>
                <a:spcPts val="0"/>
              </a:spcBef>
              <a:defRPr sz="1800"/>
            </a:lvl2pPr>
            <a:lvl3pPr>
              <a:lnSpc>
                <a:spcPct val="112000"/>
              </a:lnSpc>
              <a:spcBef>
                <a:spcPts val="0"/>
              </a:spcBef>
              <a:defRPr sz="18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Inhaltsplatzhalter 5"/>
          <p:cNvSpPr>
            <a:spLocks noGrp="1"/>
          </p:cNvSpPr>
          <p:nvPr>
            <p:ph sz="quarter" idx="13"/>
          </p:nvPr>
        </p:nvSpPr>
        <p:spPr>
          <a:xfrm>
            <a:off x="6816425" y="1520825"/>
            <a:ext cx="5188665" cy="4356100"/>
          </a:xfrm>
        </p:spPr>
        <p:txBody>
          <a:bodyPr/>
          <a:lstStyle>
            <a:lvl1pPr>
              <a:lnSpc>
                <a:spcPct val="112000"/>
              </a:lnSpc>
              <a:spcAft>
                <a:spcPts val="600"/>
              </a:spcAft>
              <a:defRPr/>
            </a:lvl1pPr>
            <a:lvl2pPr>
              <a:lnSpc>
                <a:spcPct val="112000"/>
              </a:lnSpc>
              <a:spcBef>
                <a:spcPts val="0"/>
              </a:spcBef>
              <a:defRPr/>
            </a:lvl2pPr>
            <a:lvl3pPr>
              <a:lnSpc>
                <a:spcPct val="112000"/>
              </a:lnSpc>
              <a:spcBef>
                <a:spcPts val="0"/>
              </a:spcBef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4"/>
          </p:nvPr>
        </p:nvSpPr>
        <p:spPr>
          <a:xfrm>
            <a:off x="1206000" y="150124"/>
            <a:ext cx="10785474" cy="2151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3A3E09-2410-496A-BB81-F15A07FAC31F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8EAC3D31-108A-4FE9-91B5-F944D4EE38A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465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1206500" y="2211185"/>
            <a:ext cx="5220000" cy="3665740"/>
          </a:xfrm>
        </p:spPr>
        <p:txBody>
          <a:bodyPr/>
          <a:lstStyle>
            <a:lvl1pPr>
              <a:lnSpc>
                <a:spcPct val="112000"/>
              </a:lnSpc>
              <a:spcAft>
                <a:spcPts val="400"/>
              </a:spcAft>
              <a:defRPr sz="2000">
                <a:latin typeface="Arial "/>
              </a:defRPr>
            </a:lvl1pPr>
            <a:lvl2pPr>
              <a:lnSpc>
                <a:spcPct val="112000"/>
              </a:lnSpc>
              <a:spcBef>
                <a:spcPts val="0"/>
              </a:spcBef>
              <a:defRPr sz="2000">
                <a:latin typeface="Arial "/>
              </a:defRPr>
            </a:lvl2pPr>
            <a:lvl3pPr>
              <a:lnSpc>
                <a:spcPct val="112000"/>
              </a:lnSpc>
              <a:spcBef>
                <a:spcPts val="0"/>
              </a:spcBef>
              <a:defRPr sz="2000">
                <a:latin typeface="Arial 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Inhaltsplatzhalter 5"/>
          <p:cNvSpPr>
            <a:spLocks noGrp="1"/>
          </p:cNvSpPr>
          <p:nvPr>
            <p:ph sz="quarter" idx="13"/>
          </p:nvPr>
        </p:nvSpPr>
        <p:spPr>
          <a:xfrm>
            <a:off x="6792149" y="2211185"/>
            <a:ext cx="5220000" cy="3665740"/>
          </a:xfrm>
        </p:spPr>
        <p:txBody>
          <a:bodyPr/>
          <a:lstStyle>
            <a:lvl1pPr>
              <a:lnSpc>
                <a:spcPct val="112000"/>
              </a:lnSpc>
              <a:spcAft>
                <a:spcPts val="400"/>
              </a:spcAft>
              <a:defRPr sz="2000">
                <a:latin typeface="+mj-lt"/>
              </a:defRPr>
            </a:lvl1pPr>
            <a:lvl2pPr>
              <a:lnSpc>
                <a:spcPct val="112000"/>
              </a:lnSpc>
              <a:spcBef>
                <a:spcPts val="0"/>
              </a:spcBef>
              <a:defRPr sz="2000">
                <a:latin typeface="+mj-lt"/>
              </a:defRPr>
            </a:lvl2pPr>
            <a:lvl3pPr>
              <a:lnSpc>
                <a:spcPct val="112000"/>
              </a:lnSpc>
              <a:spcBef>
                <a:spcPts val="0"/>
              </a:spcBef>
              <a:defRPr sz="2000">
                <a:latin typeface="+mj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208242" y="1522817"/>
            <a:ext cx="5220000" cy="688368"/>
          </a:xfrm>
        </p:spPr>
        <p:txBody>
          <a:bodyPr/>
          <a:lstStyle>
            <a:lvl1pPr marL="0" indent="0">
              <a:lnSpc>
                <a:spcPct val="112000"/>
              </a:lnSpc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792149" y="1522817"/>
            <a:ext cx="5220000" cy="688368"/>
          </a:xfrm>
        </p:spPr>
        <p:txBody>
          <a:bodyPr/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4"/>
          </p:nvPr>
        </p:nvSpPr>
        <p:spPr>
          <a:xfrm>
            <a:off x="1206000" y="150124"/>
            <a:ext cx="10785474" cy="2151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DB3B67-7491-4764-8971-75C7656DBFD5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12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2C0031C7-9188-4972-9DD4-DD3C320BBBD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24385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205090" y="521252"/>
            <a:ext cx="10800000" cy="900000"/>
          </a:xfrm>
        </p:spPr>
        <p:txBody>
          <a:bodyPr tIns="0"/>
          <a:lstStyle>
            <a:lvl1pPr>
              <a:lnSpc>
                <a:spcPct val="100000"/>
              </a:lnSpc>
              <a:defRPr sz="2600" baseline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2"/>
          <p:cNvSpPr>
            <a:spLocks noGrp="1"/>
          </p:cNvSpPr>
          <p:nvPr>
            <p:ph type="body" idx="13"/>
          </p:nvPr>
        </p:nvSpPr>
        <p:spPr>
          <a:xfrm>
            <a:off x="1219201" y="150124"/>
            <a:ext cx="10785474" cy="2151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2955BD-54FA-4358-AB02-34607414E985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065F7AFB-E617-4306-8E77-B348F91DE56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437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eer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11D003-432A-4126-9774-8DE8781ABB33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56339FEA-45E0-4CEE-87DD-55B9FB70659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99778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3556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rei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"/>
          </p:nvPr>
        </p:nvSpPr>
        <p:spPr>
          <a:xfrm>
            <a:off x="1206000" y="1520825"/>
            <a:ext cx="3456000" cy="2747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idx="13"/>
          </p:nvPr>
        </p:nvSpPr>
        <p:spPr>
          <a:xfrm>
            <a:off x="1206000" y="4341767"/>
            <a:ext cx="3456000" cy="12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Bildplatzhalter 2"/>
          <p:cNvSpPr>
            <a:spLocks noGrp="1"/>
          </p:cNvSpPr>
          <p:nvPr>
            <p:ph type="pic" idx="14"/>
          </p:nvPr>
        </p:nvSpPr>
        <p:spPr>
          <a:xfrm>
            <a:off x="4893213" y="1520825"/>
            <a:ext cx="3456000" cy="2747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35" name="Textplatzhalter 2"/>
          <p:cNvSpPr>
            <a:spLocks noGrp="1"/>
          </p:cNvSpPr>
          <p:nvPr>
            <p:ph type="body" idx="15"/>
          </p:nvPr>
        </p:nvSpPr>
        <p:spPr>
          <a:xfrm>
            <a:off x="4893213" y="4341767"/>
            <a:ext cx="3456000" cy="12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6"/>
          </p:nvPr>
        </p:nvSpPr>
        <p:spPr>
          <a:xfrm>
            <a:off x="8556149" y="1520825"/>
            <a:ext cx="3456000" cy="2747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rtlCol="0">
            <a:normAutofit/>
          </a:bodyPr>
          <a:lstStyle>
            <a:lvl1pPr marL="0" indent="0">
              <a:lnSpc>
                <a:spcPts val="2200"/>
              </a:lnSpc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7"/>
          </p:nvPr>
        </p:nvSpPr>
        <p:spPr>
          <a:xfrm>
            <a:off x="8564241" y="4341767"/>
            <a:ext cx="3456000" cy="1224000"/>
          </a:xfrm>
        </p:spPr>
        <p:txBody>
          <a:bodyPr>
            <a:noAutofit/>
          </a:bodyPr>
          <a:lstStyle>
            <a:lvl1pPr marL="0" indent="0">
              <a:lnSpc>
                <a:spcPct val="112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1205090" y="521252"/>
            <a:ext cx="10800000" cy="900000"/>
          </a:xfrm>
        </p:spPr>
        <p:txBody>
          <a:bodyPr tIns="0"/>
          <a:lstStyle>
            <a:lvl1pPr>
              <a:lnSpc>
                <a:spcPct val="100000"/>
              </a:lnSpc>
              <a:defRPr sz="2600" baseline="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idx="20"/>
          </p:nvPr>
        </p:nvSpPr>
        <p:spPr>
          <a:xfrm>
            <a:off x="1206000" y="150124"/>
            <a:ext cx="10785474" cy="21516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F9D63-7010-4FAA-BE3B-4CB189B9794C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12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53DECBAF-54BF-43CB-A029-D1DF8A041DD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0124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4913" y="520700"/>
            <a:ext cx="10799762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Überschrift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206500" y="1547813"/>
            <a:ext cx="10799763" cy="431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</p:txBody>
      </p:sp>
      <p:pic>
        <p:nvPicPr>
          <p:cNvPr id="1028" name="Bild 7" descr="Logo_17pt.wmf"/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620" y="6000750"/>
            <a:ext cx="1223467" cy="711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uppierung 11"/>
          <p:cNvGrpSpPr>
            <a:grpSpLocks/>
          </p:cNvGrpSpPr>
          <p:nvPr/>
        </p:nvGrpSpPr>
        <p:grpSpPr bwMode="auto">
          <a:xfrm>
            <a:off x="1204913" y="0"/>
            <a:ext cx="10991850" cy="71438"/>
            <a:chOff x="903819" y="0"/>
            <a:chExt cx="8244000" cy="108000"/>
          </a:xfrm>
        </p:grpSpPr>
        <p:sp>
          <p:nvSpPr>
            <p:cNvPr id="13" name="Rechteck 12"/>
            <p:cNvSpPr/>
            <p:nvPr/>
          </p:nvSpPr>
          <p:spPr bwMode="auto">
            <a:xfrm>
              <a:off x="903819" y="0"/>
              <a:ext cx="2736094" cy="108000"/>
            </a:xfrm>
            <a:prstGeom prst="rect">
              <a:avLst/>
            </a:prstGeom>
            <a:solidFill>
              <a:srgbClr val="AA0F1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14" name="Rechteck 13"/>
            <p:cNvSpPr/>
            <p:nvPr/>
          </p:nvSpPr>
          <p:spPr bwMode="auto">
            <a:xfrm>
              <a:off x="3639913" y="0"/>
              <a:ext cx="2736094" cy="108000"/>
            </a:xfrm>
            <a:prstGeom prst="rect">
              <a:avLst/>
            </a:prstGeom>
            <a:solidFill>
              <a:srgbClr val="D7471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15" name="Rechteck 14"/>
            <p:cNvSpPr/>
            <p:nvPr/>
          </p:nvSpPr>
          <p:spPr bwMode="auto">
            <a:xfrm>
              <a:off x="6376006" y="0"/>
              <a:ext cx="2771813" cy="108000"/>
            </a:xfrm>
            <a:prstGeom prst="rect">
              <a:avLst/>
            </a:prstGeom>
            <a:solidFill>
              <a:srgbClr val="901B6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</p:grpSp>
      <p:cxnSp>
        <p:nvCxnSpPr>
          <p:cNvPr id="16" name="Gerade Verbindung 15"/>
          <p:cNvCxnSpPr/>
          <p:nvPr/>
        </p:nvCxnSpPr>
        <p:spPr>
          <a:xfrm>
            <a:off x="1206500" y="5951538"/>
            <a:ext cx="1098708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1206500" y="6011863"/>
            <a:ext cx="1295400" cy="179387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1170B00-7008-4535-A03C-5ED584CA80EB}" type="datetime1">
              <a:rPr lang="de-DE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1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206500" y="6361113"/>
            <a:ext cx="1295400" cy="21431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ite </a:t>
            </a:r>
            <a:fld id="{297CD77D-B4CD-4177-B2B6-FFDA7A317B1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393FBCB6-964B-4911-B2D6-F34720DDF262}"/>
              </a:ext>
            </a:extLst>
          </p:cNvPr>
          <p:cNvSpPr txBox="1">
            <a:spLocks/>
          </p:cNvSpPr>
          <p:nvPr userDrawn="1"/>
        </p:nvSpPr>
        <p:spPr>
          <a:xfrm>
            <a:off x="2663031" y="6011863"/>
            <a:ext cx="3941763" cy="549275"/>
          </a:xfrm>
          <a:prstGeom prst="rect">
            <a:avLst/>
          </a:prstGeom>
        </p:spPr>
        <p:txBody>
          <a:bodyPr wrap="none" lIns="0" tIns="0" rIns="0" bIns="0"/>
          <a:lstStyle>
            <a:defPPr>
              <a:defRPr lang="de-DE"/>
            </a:defPPr>
            <a:lvl1pPr algn="l" rtl="0" fontAlgn="base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defRPr kumimoji="1" sz="1200" b="1" i="0" kern="1200">
                <a:solidFill>
                  <a:srgbClr val="141313"/>
                </a:solidFill>
                <a:latin typeface="Arial"/>
                <a:ea typeface="ＭＳ Ｐゴシック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5pPr>
            <a:lvl6pPr marL="22860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6pPr>
            <a:lvl7pPr marL="27432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7pPr>
            <a:lvl8pPr marL="32004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8pPr>
            <a:lvl9pPr marL="3657600" algn="l" defTabSz="457200" rtl="0" eaLnBrk="1" latinLnBrk="0" hangingPunct="1">
              <a:defRPr kumimoji="1" sz="1200" kern="1200">
                <a:solidFill>
                  <a:schemeClr val="bg2"/>
                </a:solidFill>
                <a:latin typeface="Myriad Pro" charset="0"/>
                <a:ea typeface="ＭＳ Ｐゴシック" charset="0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  <a:defRPr/>
            </a:pPr>
            <a:r>
              <a:rPr lang="de-DE" sz="900" b="0" dirty="0"/>
              <a:t>Prof. Dr. Carsten Knaut</a:t>
            </a:r>
          </a:p>
          <a:p>
            <a:pPr>
              <a:lnSpc>
                <a:spcPct val="100000"/>
              </a:lnSpc>
              <a:spcAft>
                <a:spcPts val="600"/>
              </a:spcAft>
              <a:defRPr/>
            </a:pPr>
            <a:r>
              <a:rPr lang="de-DE" sz="900" b="0" dirty="0">
                <a:solidFill>
                  <a:schemeClr val="tx1"/>
                </a:solidFill>
              </a:rPr>
              <a:t>Fakultät für Wirtschafts- und Rechtswissenschaften</a:t>
            </a:r>
            <a:br>
              <a:rPr lang="de-DE" sz="900" b="0" dirty="0">
                <a:solidFill>
                  <a:schemeClr val="tx1"/>
                </a:solidFill>
              </a:rPr>
            </a:br>
            <a:r>
              <a:rPr lang="de-DE" sz="900" b="0" dirty="0">
                <a:solidFill>
                  <a:schemeClr val="tx1"/>
                </a:solidFill>
              </a:rPr>
              <a:t>Schmalenbach Institut für Wirtschaftswissenschaf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25" r:id="rId8"/>
    <p:sldLayoutId id="2147483714" r:id="rId9"/>
    <p:sldLayoutId id="2147483715" r:id="rId10"/>
  </p:sldLayoutIdLst>
  <p:hf hdr="0" ftr="0"/>
  <p:txStyles>
    <p:titleStyle>
      <a:lvl1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600" b="1" kern="1200">
          <a:solidFill>
            <a:schemeClr val="tx1"/>
          </a:solidFill>
          <a:latin typeface="Arial"/>
          <a:ea typeface="+mj-ea"/>
          <a:cs typeface="+mj-cs"/>
        </a:defRPr>
      </a:lvl1pPr>
      <a:lvl2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34" charset="0"/>
        </a:defRPr>
      </a:lvl2pPr>
      <a:lvl3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34" charset="0"/>
        </a:defRPr>
      </a:lvl3pPr>
      <a:lvl4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34" charset="0"/>
        </a:defRPr>
      </a:lvl4pPr>
      <a:lvl5pPr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34" charset="0"/>
        </a:defRPr>
      </a:lvl5pPr>
      <a:lvl6pPr marL="4572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34" charset="0"/>
        </a:defRPr>
      </a:lvl6pPr>
      <a:lvl7pPr marL="9144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34" charset="0"/>
        </a:defRPr>
      </a:lvl7pPr>
      <a:lvl8pPr marL="13716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34" charset="0"/>
        </a:defRPr>
      </a:lvl8pPr>
      <a:lvl9pPr marL="1828800" algn="l" defTabSz="457200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34" charset="0"/>
        </a:defRPr>
      </a:lvl9pPr>
    </p:titleStyle>
    <p:bodyStyle>
      <a:lvl1pPr algn="l" defTabSz="457200" rtl="0" eaLnBrk="1" fontAlgn="base" hangingPunct="1">
        <a:lnSpc>
          <a:spcPct val="112000"/>
        </a:lnSpc>
        <a:spcBef>
          <a:spcPct val="0"/>
        </a:spcBef>
        <a:spcAft>
          <a:spcPts val="600"/>
        </a:spcAft>
        <a:defRPr sz="1800" kern="1200">
          <a:solidFill>
            <a:schemeClr val="tx1"/>
          </a:solidFill>
          <a:latin typeface="Arial"/>
          <a:ea typeface="+mn-ea"/>
          <a:cs typeface="+mn-cs"/>
        </a:defRPr>
      </a:lvl1pPr>
      <a:lvl2pPr marL="357188" indent="-171450" algn="l" defTabSz="457200" rtl="0" eaLnBrk="1" fontAlgn="base" hangingPunct="1">
        <a:lnSpc>
          <a:spcPct val="112000"/>
        </a:lnSpc>
        <a:spcBef>
          <a:spcPts val="6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5738" algn="l" defTabSz="457200" rtl="0" eaLnBrk="1" fontAlgn="base" hangingPunct="1">
        <a:lnSpc>
          <a:spcPct val="112000"/>
        </a:lnSpc>
        <a:spcBef>
          <a:spcPts val="4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/>
          <a:ea typeface="+mn-ea"/>
          <a:cs typeface="+mn-cs"/>
        </a:defRPr>
      </a:lvl3pPr>
      <a:lvl4pPr marL="714375" indent="-171450" algn="l" defTabSz="457200" rtl="0" eaLnBrk="1" fontAlgn="base" hangingPunct="1">
        <a:lnSpc>
          <a:spcPct val="112000"/>
        </a:lnSpc>
        <a:spcBef>
          <a:spcPts val="500"/>
        </a:spcBef>
        <a:spcAft>
          <a:spcPct val="0"/>
        </a:spcAft>
        <a:buClr>
          <a:srgbClr val="9D167A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/>
          <a:ea typeface="+mn-ea"/>
          <a:cs typeface="+mn-cs"/>
        </a:defRPr>
      </a:lvl4pPr>
      <a:lvl5pPr marL="1074738" indent="-177800" algn="l" defTabSz="457200" rtl="0" eaLnBrk="1" fontAlgn="base" hangingPunct="1">
        <a:lnSpc>
          <a:spcPts val="1600"/>
        </a:lnSpc>
        <a:spcBef>
          <a:spcPts val="500"/>
        </a:spcBef>
        <a:spcAft>
          <a:spcPct val="0"/>
        </a:spcAft>
        <a:buFont typeface="Symbol" pitchFamily="18" charset="2"/>
        <a:buChar char="-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www.tiktok.com/@niklaskolorz/video/6949188509018180869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2" descr="fittosize__640_300_618dc7fa7de29b0f764d9d461b4ab069_dsc05764.pn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t="6362" b="6362"/>
          <a:stretch>
            <a:fillRect/>
          </a:stretch>
        </p:blipFill>
        <p:spPr>
          <a:xfrm>
            <a:off x="1206500" y="71438"/>
            <a:ext cx="10985500" cy="4494212"/>
          </a:xfrm>
        </p:spPr>
      </p:pic>
      <p:sp>
        <p:nvSpPr>
          <p:cNvPr id="5123" name="Titel 2"/>
          <p:cNvSpPr>
            <a:spLocks noGrp="1"/>
          </p:cNvSpPr>
          <p:nvPr>
            <p:ph type="title"/>
          </p:nvPr>
        </p:nvSpPr>
        <p:spPr>
          <a:xfrm>
            <a:off x="1206500" y="4719782"/>
            <a:ext cx="10799763" cy="569768"/>
          </a:xfrm>
        </p:spPr>
        <p:txBody>
          <a:bodyPr/>
          <a:lstStyle/>
          <a:p>
            <a:r>
              <a:rPr lang="de-DE" altLang="de-DE" dirty="0">
                <a:latin typeface="Arial" pitchFamily="34" charset="0"/>
              </a:rPr>
              <a:t>Das Lehrformat „</a:t>
            </a:r>
            <a:r>
              <a:rPr lang="de-DE" altLang="de-DE" dirty="0" err="1">
                <a:latin typeface="Arial" pitchFamily="34" charset="0"/>
              </a:rPr>
              <a:t>One</a:t>
            </a:r>
            <a:r>
              <a:rPr lang="de-DE" altLang="de-DE" dirty="0">
                <a:latin typeface="Arial" pitchFamily="34" charset="0"/>
              </a:rPr>
              <a:t>-Slide-About“</a:t>
            </a:r>
          </a:p>
        </p:txBody>
      </p:sp>
      <p:sp>
        <p:nvSpPr>
          <p:cNvPr id="5124" name="Inhaltsplatzhalter 3"/>
          <p:cNvSpPr>
            <a:spLocks noGrp="1"/>
          </p:cNvSpPr>
          <p:nvPr>
            <p:ph sz="quarter" idx="4294967295"/>
          </p:nvPr>
        </p:nvSpPr>
        <p:spPr>
          <a:xfrm>
            <a:off x="1204913" y="5273675"/>
            <a:ext cx="10799762" cy="468313"/>
          </a:xfrm>
        </p:spPr>
        <p:txBody>
          <a:bodyPr/>
          <a:lstStyle/>
          <a:p>
            <a:r>
              <a:rPr lang="de-DE" altLang="de-DE" sz="2000" dirty="0">
                <a:latin typeface="Arial" pitchFamily="34" charset="0"/>
              </a:rPr>
              <a:t>Leicht verdauliche Häppchen oder doch Happen?</a:t>
            </a:r>
          </a:p>
        </p:txBody>
      </p:sp>
      <p:sp>
        <p:nvSpPr>
          <p:cNvPr id="5125" name="Foliennummernplatzhalter 7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/>
              <a:t>Seite </a:t>
            </a:r>
            <a:fld id="{5900BCAD-2E4D-452E-971A-E255ED365B22}" type="slidenum">
              <a:rPr lang="de-DE" altLang="de-DE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altLang="de-DE"/>
          </a:p>
        </p:txBody>
      </p:sp>
      <p:sp>
        <p:nvSpPr>
          <p:cNvPr id="5126" name="Datumsplatzhalter 1"/>
          <p:cNvSpPr>
            <a:spLocks noGrp="1"/>
          </p:cNvSpPr>
          <p:nvPr>
            <p:ph type="dt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990076B-F39E-40B9-97AC-FE94D5699198}" type="datetime1">
              <a:rPr lang="de-DE" altLang="de-DE"/>
              <a:pPr fontAlgn="base">
                <a:spcBef>
                  <a:spcPct val="0"/>
                </a:spcBef>
                <a:spcAft>
                  <a:spcPct val="0"/>
                </a:spcAft>
              </a:pPr>
              <a:t>10.05.2021</a:t>
            </a:fld>
            <a:endParaRPr lang="de-DE" altLang="de-DE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CDDE3B-0723-4853-8C12-D49C3C9A6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en </a:t>
            </a:r>
            <a:r>
              <a:rPr lang="de-DE" dirty="0" err="1"/>
              <a:t>Ersteller:innen</a:t>
            </a:r>
            <a:r>
              <a:rPr lang="de-DE" dirty="0"/>
              <a:t> mehr als </a:t>
            </a:r>
            <a:r>
              <a:rPr lang="de-DE" dirty="0" err="1"/>
              <a:t>Konsument:innen</a:t>
            </a:r>
            <a:r>
              <a:rPr lang="de-DE" dirty="0"/>
              <a:t>?</a:t>
            </a:r>
            <a:r>
              <a:rPr lang="en-DE" dirty="0"/>
              <a:t/>
            </a:r>
            <a:br>
              <a:rPr lang="en-DE" dirty="0"/>
            </a:b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A67040-2D73-4CBE-85D1-570924108018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504071-FB5E-4494-B458-9E899DD831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07BBAA-AA96-4CE3-9801-614A56D441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0296345-EBE4-4F0F-AB07-252F72918D36}"/>
              </a:ext>
            </a:extLst>
          </p:cNvPr>
          <p:cNvSpPr/>
          <p:nvPr/>
        </p:nvSpPr>
        <p:spPr>
          <a:xfrm>
            <a:off x="1204913" y="1590676"/>
            <a:ext cx="2562418" cy="678337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Ersteller*innen vs. Konsument*innen</a:t>
            </a:r>
            <a:endParaRPr lang="en-DE" sz="1600" b="1" dirty="0">
              <a:solidFill>
                <a:schemeClr val="bg1"/>
              </a:solidFill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E05916A-AFC8-4C9D-B398-0F35AF956BD2}"/>
              </a:ext>
            </a:extLst>
          </p:cNvPr>
          <p:cNvGrpSpPr/>
          <p:nvPr/>
        </p:nvGrpSpPr>
        <p:grpSpPr>
          <a:xfrm>
            <a:off x="4027626" y="1590676"/>
            <a:ext cx="7199616" cy="678337"/>
            <a:chOff x="4027626" y="3757668"/>
            <a:chExt cx="7199616" cy="52657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CCD68ED-8772-4FAF-AD09-9E8FC6DB6954}"/>
                </a:ext>
              </a:extLst>
            </p:cNvPr>
            <p:cNvSpPr/>
            <p:nvPr/>
          </p:nvSpPr>
          <p:spPr>
            <a:xfrm>
              <a:off x="4665332" y="3757668"/>
              <a:ext cx="6561910" cy="52657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400" i="1" dirty="0"/>
                <a:t>Regelmäßige Diskussionen (ex-post) fördern die kritische Auseinandersetzung mit den Inhalten stärker als die individuelle Reflexion im Lernportfolio.</a:t>
              </a:r>
              <a:endParaRPr lang="en-DE" sz="1400" i="1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8891E4-F9C9-4508-81CC-A6627D09DD26}"/>
                </a:ext>
              </a:extLst>
            </p:cNvPr>
            <p:cNvSpPr/>
            <p:nvPr/>
          </p:nvSpPr>
          <p:spPr>
            <a:xfrm>
              <a:off x="4027626" y="3757668"/>
              <a:ext cx="636105" cy="526570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</a:rPr>
                <a:t>H4</a:t>
              </a:r>
              <a:endParaRPr lang="en-DE" sz="16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73F111E5-53E1-4B0B-B5CE-7C1E60AE72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822126"/>
              </p:ext>
            </p:extLst>
          </p:nvPr>
        </p:nvGraphicFramePr>
        <p:xfrm>
          <a:off x="1206501" y="2547359"/>
          <a:ext cx="10020740" cy="1607694"/>
        </p:xfrm>
        <a:graphic>
          <a:graphicData uri="http://schemas.openxmlformats.org/drawingml/2006/table">
            <a:tbl>
              <a:tblPr/>
              <a:tblGrid>
                <a:gridCol w="3896381">
                  <a:extLst>
                    <a:ext uri="{9D8B030D-6E8A-4147-A177-3AD203B41FA5}">
                      <a16:colId xmlns:a16="http://schemas.microsoft.com/office/drawing/2014/main" val="890507160"/>
                    </a:ext>
                  </a:extLst>
                </a:gridCol>
                <a:gridCol w="2591866">
                  <a:extLst>
                    <a:ext uri="{9D8B030D-6E8A-4147-A177-3AD203B41FA5}">
                      <a16:colId xmlns:a16="http://schemas.microsoft.com/office/drawing/2014/main" val="2442827916"/>
                    </a:ext>
                  </a:extLst>
                </a:gridCol>
                <a:gridCol w="1059950">
                  <a:extLst>
                    <a:ext uri="{9D8B030D-6E8A-4147-A177-3AD203B41FA5}">
                      <a16:colId xmlns:a16="http://schemas.microsoft.com/office/drawing/2014/main" val="1418106606"/>
                    </a:ext>
                  </a:extLst>
                </a:gridCol>
                <a:gridCol w="1243741">
                  <a:extLst>
                    <a:ext uri="{9D8B030D-6E8A-4147-A177-3AD203B41FA5}">
                      <a16:colId xmlns:a16="http://schemas.microsoft.com/office/drawing/2014/main" val="2747608933"/>
                    </a:ext>
                  </a:extLst>
                </a:gridCol>
                <a:gridCol w="1228802">
                  <a:extLst>
                    <a:ext uri="{9D8B030D-6E8A-4147-A177-3AD203B41FA5}">
                      <a16:colId xmlns:a16="http://schemas.microsoft.com/office/drawing/2014/main" val="250706828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che Veranstaltung haben Sie besucht?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an</a:t>
                      </a:r>
                      <a:r>
                        <a:rPr lang="de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Rank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m</a:t>
                      </a:r>
                      <a:r>
                        <a:rPr lang="de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</a:t>
                      </a:r>
                      <a:r>
                        <a:rPr lang="de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Ranks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127239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urch meine eigenen Erfahrungen bei der Erstellung der Inhalte habe ich begonnen, komprimiert dargestellte Fachinhalte stärker kritisch zu reflektieren.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sonalmanagement 2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91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6.00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5174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gitale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beitswelt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31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9.00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50753"/>
                  </a:ext>
                </a:extLst>
              </a:tr>
            </a:tbl>
          </a:graphicData>
        </a:graphic>
      </p:graphicFrame>
      <p:sp>
        <p:nvSpPr>
          <p:cNvPr id="7" name="Ellipse 6">
            <a:extLst>
              <a:ext uri="{FF2B5EF4-FFF2-40B4-BE49-F238E27FC236}">
                <a16:creationId xmlns:a16="http://schemas.microsoft.com/office/drawing/2014/main" id="{8E9842BF-9DA4-46C6-B48B-81383A21E380}"/>
              </a:ext>
            </a:extLst>
          </p:cNvPr>
          <p:cNvSpPr/>
          <p:nvPr/>
        </p:nvSpPr>
        <p:spPr>
          <a:xfrm>
            <a:off x="11369842" y="1690444"/>
            <a:ext cx="478800" cy="4788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5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C1AFC42-63B3-4DFB-B390-5F1AAB2FE65F}"/>
              </a:ext>
            </a:extLst>
          </p:cNvPr>
          <p:cNvSpPr txBox="1"/>
          <p:nvPr/>
        </p:nvSpPr>
        <p:spPr>
          <a:xfrm>
            <a:off x="1204913" y="4311052"/>
            <a:ext cx="5329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Mann-Whitney-U-Test: U = 195.000, Z = -1.521, p &lt; .128</a:t>
            </a:r>
          </a:p>
          <a:p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Cohen‘s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d: -.494</a:t>
            </a:r>
            <a:endParaRPr lang="en-DE" sz="16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F88FC77D-39B3-4262-84A3-19B943F883E9}"/>
              </a:ext>
            </a:extLst>
          </p:cNvPr>
          <p:cNvSpPr/>
          <p:nvPr/>
        </p:nvSpPr>
        <p:spPr>
          <a:xfrm>
            <a:off x="1317098" y="5127283"/>
            <a:ext cx="537102" cy="462707"/>
          </a:xfrm>
          <a:prstGeom prst="rightArrow">
            <a:avLst/>
          </a:prstGeom>
          <a:solidFill>
            <a:schemeClr val="accent5">
              <a:lumMod val="50000"/>
            </a:schemeClr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CAE97C0-474A-4586-98B1-ACB549AF3277}"/>
              </a:ext>
            </a:extLst>
          </p:cNvPr>
          <p:cNvSpPr txBox="1"/>
          <p:nvPr/>
        </p:nvSpPr>
        <p:spPr>
          <a:xfrm>
            <a:off x="1949116" y="5160286"/>
            <a:ext cx="57328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Unterschied nicht signifikant, aber starker Effekt</a:t>
            </a:r>
            <a:endParaRPr lang="en-DE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484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CDDE3B-0723-4853-8C12-D49C3C9A6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deo vs. Präsentation: Wahl des Mediums</a:t>
            </a: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A67040-2D73-4CBE-85D1-570924108018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504071-FB5E-4494-B458-9E899DD831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07BBAA-AA96-4CE3-9801-614A56D441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B0A3A0A-184E-4997-99FA-641A3343156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252031" y="1109120"/>
            <a:ext cx="4311424" cy="29517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Sprechblase: rechteckig mit abgerundeten Ecken 16">
            <a:extLst>
              <a:ext uri="{FF2B5EF4-FFF2-40B4-BE49-F238E27FC236}">
                <a16:creationId xmlns:a16="http://schemas.microsoft.com/office/drawing/2014/main" id="{2599D75D-1B0D-403B-960E-2C2627FBDEB5}"/>
              </a:ext>
            </a:extLst>
          </p:cNvPr>
          <p:cNvSpPr/>
          <p:nvPr/>
        </p:nvSpPr>
        <p:spPr>
          <a:xfrm>
            <a:off x="1113639" y="4330755"/>
            <a:ext cx="4603805" cy="1090741"/>
          </a:xfrm>
          <a:prstGeom prst="wedgeRoundRectCallout">
            <a:avLst>
              <a:gd name="adj1" fmla="val -7836"/>
              <a:gd name="adj2" fmla="val -100757"/>
              <a:gd name="adj3" fmla="val 16667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i="1" dirty="0"/>
              <a:t>„[…] das Erstellen eines Videos bringt viel Aufwand mit sich (geht über 3 Tage intensive Beschäftigung hinaus)“</a:t>
            </a:r>
            <a:endParaRPr lang="en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8ABDB93-7CE6-4FFD-8862-7760A377E83D}"/>
              </a:ext>
            </a:extLst>
          </p:cNvPr>
          <p:cNvSpPr txBox="1"/>
          <p:nvPr/>
        </p:nvSpPr>
        <p:spPr>
          <a:xfrm>
            <a:off x="2767862" y="2865918"/>
            <a:ext cx="40429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aus 49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(= 12%) entschieden sich für ein Video als Format</a:t>
            </a:r>
            <a:endParaRPr lang="en-DE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5D3A5FE-EF21-41C5-B561-A94659C2DCE7}"/>
              </a:ext>
            </a:extLst>
          </p:cNvPr>
          <p:cNvSpPr txBox="1"/>
          <p:nvPr/>
        </p:nvSpPr>
        <p:spPr>
          <a:xfrm>
            <a:off x="1284424" y="1576224"/>
            <a:ext cx="40429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accent1"/>
                </a:solidFill>
              </a:rPr>
              <a:t>Knapp 50%</a:t>
            </a:r>
            <a:r>
              <a:rPr lang="de-DE" sz="2000" b="1" dirty="0">
                <a:solidFill>
                  <a:schemeClr val="accent3"/>
                </a:solidFill>
              </a:rPr>
              <a:t>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würde die Erstellung eines Videos grundsätzlich Spaß machen</a:t>
            </a:r>
            <a:endParaRPr lang="en-DE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93F0412-9DCF-4B83-9722-2D7116830C51}"/>
              </a:ext>
            </a:extLst>
          </p:cNvPr>
          <p:cNvSpPr txBox="1"/>
          <p:nvPr/>
        </p:nvSpPr>
        <p:spPr>
          <a:xfrm>
            <a:off x="7252032" y="4668501"/>
            <a:ext cx="41358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Erfahrung mit der Erstellung von Videos in den sozialen Medien korreliert signifikant (.443**) mit dem Spaß an der Erstellung von Videos.</a:t>
            </a:r>
            <a:endParaRPr lang="en-DE" sz="16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39F33A97-1830-4CD7-B200-54E4543AE571}"/>
              </a:ext>
            </a:extLst>
          </p:cNvPr>
          <p:cNvSpPr/>
          <p:nvPr/>
        </p:nvSpPr>
        <p:spPr>
          <a:xfrm rot="10800000">
            <a:off x="7297153" y="4006515"/>
            <a:ext cx="3982452" cy="330869"/>
          </a:xfrm>
          <a:prstGeom prst="triangl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11926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A96DEF-E3D9-46B5-BB6A-201984A1B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hr Fragen als Antworten</a:t>
            </a: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795290-25F8-485D-9A9F-25D660112734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E20273-6789-4CED-80F5-6B7519C66DB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92B579C-E66D-4100-BA85-944382E03A9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sp>
        <p:nvSpPr>
          <p:cNvPr id="7" name="Denkblase: wolkenförmig 6">
            <a:extLst>
              <a:ext uri="{FF2B5EF4-FFF2-40B4-BE49-F238E27FC236}">
                <a16:creationId xmlns:a16="http://schemas.microsoft.com/office/drawing/2014/main" id="{0948D83A-6CDC-4191-BA05-CBFF810A4477}"/>
              </a:ext>
            </a:extLst>
          </p:cNvPr>
          <p:cNvSpPr/>
          <p:nvPr/>
        </p:nvSpPr>
        <p:spPr>
          <a:xfrm>
            <a:off x="6175374" y="609892"/>
            <a:ext cx="5005973" cy="1994946"/>
          </a:xfrm>
          <a:prstGeom prst="cloudCallout">
            <a:avLst>
              <a:gd name="adj1" fmla="val -52020"/>
              <a:gd name="adj2" fmla="val 36830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/>
              <a:t>Welche </a:t>
            </a:r>
            <a:r>
              <a:rPr lang="de-DE" sz="1600" dirty="0">
                <a:solidFill>
                  <a:schemeClr val="accent1"/>
                </a:solidFill>
              </a:rPr>
              <a:t>Kompetenzen</a:t>
            </a:r>
            <a:r>
              <a:rPr lang="de-DE" sz="1600" dirty="0"/>
              <a:t> braucht es, um Informationen zu kondensieren und wie können diese vermittelt werden?</a:t>
            </a:r>
            <a:endParaRPr lang="en-DE" sz="1600" dirty="0"/>
          </a:p>
        </p:txBody>
      </p:sp>
      <p:sp>
        <p:nvSpPr>
          <p:cNvPr id="8" name="Denkblase: wolkenförmig 7">
            <a:extLst>
              <a:ext uri="{FF2B5EF4-FFF2-40B4-BE49-F238E27FC236}">
                <a16:creationId xmlns:a16="http://schemas.microsoft.com/office/drawing/2014/main" id="{C62C18F7-9958-4566-82B2-61793F2394ED}"/>
              </a:ext>
            </a:extLst>
          </p:cNvPr>
          <p:cNvSpPr/>
          <p:nvPr/>
        </p:nvSpPr>
        <p:spPr>
          <a:xfrm>
            <a:off x="1010652" y="1195137"/>
            <a:ext cx="4223085" cy="1838825"/>
          </a:xfrm>
          <a:prstGeom prst="cloudCallout">
            <a:avLst>
              <a:gd name="adj1" fmla="val 36545"/>
              <a:gd name="adj2" fmla="val 52425"/>
            </a:avLst>
          </a:prstGeom>
          <a:solidFill>
            <a:schemeClr val="bg1"/>
          </a:solidFill>
          <a:ln w="28575">
            <a:solidFill>
              <a:schemeClr val="accent3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/>
              <a:t>Wie können </a:t>
            </a:r>
            <a:r>
              <a:rPr lang="de-DE" sz="1600" dirty="0">
                <a:solidFill>
                  <a:schemeClr val="accent3"/>
                </a:solidFill>
              </a:rPr>
              <a:t>Kreativität und Medienkompetenz</a:t>
            </a:r>
            <a:r>
              <a:rPr lang="de-DE" sz="1600" dirty="0"/>
              <a:t> gefördert werden, ohne in einer Lehrveranstaltung zu viel Raum einzunehmen?</a:t>
            </a:r>
            <a:endParaRPr lang="en-DE" sz="1600" dirty="0"/>
          </a:p>
        </p:txBody>
      </p:sp>
      <p:sp>
        <p:nvSpPr>
          <p:cNvPr id="9" name="Denkblase: wolkenförmig 8">
            <a:extLst>
              <a:ext uri="{FF2B5EF4-FFF2-40B4-BE49-F238E27FC236}">
                <a16:creationId xmlns:a16="http://schemas.microsoft.com/office/drawing/2014/main" id="{D849913C-3295-47D0-AABE-63CD4FEDB3F9}"/>
              </a:ext>
            </a:extLst>
          </p:cNvPr>
          <p:cNvSpPr/>
          <p:nvPr/>
        </p:nvSpPr>
        <p:spPr>
          <a:xfrm>
            <a:off x="1966495" y="3920290"/>
            <a:ext cx="3742489" cy="1674394"/>
          </a:xfrm>
          <a:prstGeom prst="cloudCallout">
            <a:avLst>
              <a:gd name="adj1" fmla="val 28016"/>
              <a:gd name="adj2" fmla="val -71357"/>
            </a:avLst>
          </a:prstGeom>
          <a:solidFill>
            <a:schemeClr val="bg1"/>
          </a:solidFill>
          <a:ln w="28575">
            <a:solidFill>
              <a:schemeClr val="accent2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Wie lässt sich die Angst/ </a:t>
            </a:r>
            <a:r>
              <a:rPr lang="de-DE" sz="1600" dirty="0">
                <a:solidFill>
                  <a:schemeClr val="accent2"/>
                </a:solidFill>
              </a:rPr>
              <a:t>Überforderung</a:t>
            </a:r>
            <a:r>
              <a:rPr lang="de-DE" dirty="0">
                <a:solidFill>
                  <a:schemeClr val="accent2"/>
                </a:solidFill>
              </a:rPr>
              <a:t> durch Freiheit</a:t>
            </a:r>
            <a:r>
              <a:rPr lang="de-DE" dirty="0"/>
              <a:t> reduzieren?</a:t>
            </a:r>
            <a:endParaRPr lang="en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2824C51-1229-4E76-A3EF-352D394A6655}"/>
              </a:ext>
            </a:extLst>
          </p:cNvPr>
          <p:cNvSpPr txBox="1"/>
          <p:nvPr/>
        </p:nvSpPr>
        <p:spPr>
          <a:xfrm>
            <a:off x="5144139" y="2203046"/>
            <a:ext cx="76495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0" b="1" dirty="0">
                <a:solidFill>
                  <a:schemeClr val="bg1">
                    <a:lumMod val="50000"/>
                  </a:schemeClr>
                </a:solidFill>
                <a:latin typeface="Comic Sans MS" panose="030F0702030302020204" pitchFamily="66" charset="0"/>
              </a:rPr>
              <a:t>?</a:t>
            </a:r>
            <a:endParaRPr lang="en-DE" sz="8000" b="1" dirty="0" err="1">
              <a:solidFill>
                <a:schemeClr val="bg1">
                  <a:lumMod val="50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8A0F24E-ED80-4759-A81D-800EAD7100EB}"/>
              </a:ext>
            </a:extLst>
          </p:cNvPr>
          <p:cNvSpPr txBox="1"/>
          <p:nvPr/>
        </p:nvSpPr>
        <p:spPr>
          <a:xfrm>
            <a:off x="7871976" y="3656633"/>
            <a:ext cx="115768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 err="1">
                <a:solidFill>
                  <a:schemeClr val="bg1">
                    <a:lumMod val="50000"/>
                  </a:schemeClr>
                </a:solidFill>
                <a:latin typeface="Comic Sans MS" panose="030F0702030302020204" pitchFamily="66" charset="0"/>
              </a:rPr>
              <a:t>tbc</a:t>
            </a:r>
            <a:r>
              <a:rPr lang="de-DE" sz="8000" b="1" dirty="0">
                <a:solidFill>
                  <a:schemeClr val="bg1">
                    <a:lumMod val="50000"/>
                  </a:schemeClr>
                </a:solidFill>
                <a:latin typeface="Comic Sans MS" panose="030F0702030302020204" pitchFamily="66" charset="0"/>
              </a:rPr>
              <a:t>!</a:t>
            </a:r>
            <a:endParaRPr lang="en-DE" sz="8000" b="1" dirty="0" err="1">
              <a:solidFill>
                <a:schemeClr val="bg1">
                  <a:lumMod val="50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D36245BE-F63A-4A6B-B717-A7B9FD1C8A36}"/>
              </a:ext>
            </a:extLst>
          </p:cNvPr>
          <p:cNvSpPr/>
          <p:nvPr/>
        </p:nvSpPr>
        <p:spPr>
          <a:xfrm>
            <a:off x="5909092" y="3102683"/>
            <a:ext cx="1842052" cy="1206035"/>
          </a:xfrm>
          <a:custGeom>
            <a:avLst/>
            <a:gdLst>
              <a:gd name="connsiteX0" fmla="*/ 0 w 1842052"/>
              <a:gd name="connsiteY0" fmla="*/ 13252 h 1206035"/>
              <a:gd name="connsiteX1" fmla="*/ 79513 w 1842052"/>
              <a:gd name="connsiteY1" fmla="*/ 0 h 1206035"/>
              <a:gd name="connsiteX2" fmla="*/ 205409 w 1842052"/>
              <a:gd name="connsiteY2" fmla="*/ 6626 h 1206035"/>
              <a:gd name="connsiteX3" fmla="*/ 284922 w 1842052"/>
              <a:gd name="connsiteY3" fmla="*/ 26504 h 1206035"/>
              <a:gd name="connsiteX4" fmla="*/ 324678 w 1842052"/>
              <a:gd name="connsiteY4" fmla="*/ 46382 h 1206035"/>
              <a:gd name="connsiteX5" fmla="*/ 351183 w 1842052"/>
              <a:gd name="connsiteY5" fmla="*/ 59634 h 1206035"/>
              <a:gd name="connsiteX6" fmla="*/ 390939 w 1842052"/>
              <a:gd name="connsiteY6" fmla="*/ 72887 h 1206035"/>
              <a:gd name="connsiteX7" fmla="*/ 430696 w 1842052"/>
              <a:gd name="connsiteY7" fmla="*/ 112643 h 1206035"/>
              <a:gd name="connsiteX8" fmla="*/ 457200 w 1842052"/>
              <a:gd name="connsiteY8" fmla="*/ 145774 h 1206035"/>
              <a:gd name="connsiteX9" fmla="*/ 463826 w 1842052"/>
              <a:gd name="connsiteY9" fmla="*/ 165652 h 1206035"/>
              <a:gd name="connsiteX10" fmla="*/ 490331 w 1842052"/>
              <a:gd name="connsiteY10" fmla="*/ 198782 h 1206035"/>
              <a:gd name="connsiteX11" fmla="*/ 503583 w 1842052"/>
              <a:gd name="connsiteY11" fmla="*/ 238539 h 1206035"/>
              <a:gd name="connsiteX12" fmla="*/ 516835 w 1842052"/>
              <a:gd name="connsiteY12" fmla="*/ 258417 h 1206035"/>
              <a:gd name="connsiteX13" fmla="*/ 536713 w 1842052"/>
              <a:gd name="connsiteY13" fmla="*/ 291548 h 1206035"/>
              <a:gd name="connsiteX14" fmla="*/ 556591 w 1842052"/>
              <a:gd name="connsiteY14" fmla="*/ 331304 h 1206035"/>
              <a:gd name="connsiteX15" fmla="*/ 569844 w 1842052"/>
              <a:gd name="connsiteY15" fmla="*/ 371061 h 1206035"/>
              <a:gd name="connsiteX16" fmla="*/ 589722 w 1842052"/>
              <a:gd name="connsiteY16" fmla="*/ 410817 h 1206035"/>
              <a:gd name="connsiteX17" fmla="*/ 602974 w 1842052"/>
              <a:gd name="connsiteY17" fmla="*/ 430695 h 1206035"/>
              <a:gd name="connsiteX18" fmla="*/ 609600 w 1842052"/>
              <a:gd name="connsiteY18" fmla="*/ 450574 h 1206035"/>
              <a:gd name="connsiteX19" fmla="*/ 655983 w 1842052"/>
              <a:gd name="connsiteY19" fmla="*/ 530087 h 1206035"/>
              <a:gd name="connsiteX20" fmla="*/ 662609 w 1842052"/>
              <a:gd name="connsiteY20" fmla="*/ 549965 h 1206035"/>
              <a:gd name="connsiteX21" fmla="*/ 669235 w 1842052"/>
              <a:gd name="connsiteY21" fmla="*/ 583095 h 1206035"/>
              <a:gd name="connsiteX22" fmla="*/ 682487 w 1842052"/>
              <a:gd name="connsiteY22" fmla="*/ 602974 h 1206035"/>
              <a:gd name="connsiteX23" fmla="*/ 708991 w 1842052"/>
              <a:gd name="connsiteY23" fmla="*/ 695739 h 1206035"/>
              <a:gd name="connsiteX24" fmla="*/ 722244 w 1842052"/>
              <a:gd name="connsiteY24" fmla="*/ 708991 h 1206035"/>
              <a:gd name="connsiteX25" fmla="*/ 742122 w 1842052"/>
              <a:gd name="connsiteY25" fmla="*/ 748748 h 1206035"/>
              <a:gd name="connsiteX26" fmla="*/ 762000 w 1842052"/>
              <a:gd name="connsiteY26" fmla="*/ 795130 h 1206035"/>
              <a:gd name="connsiteX27" fmla="*/ 775252 w 1842052"/>
              <a:gd name="connsiteY27" fmla="*/ 815008 h 1206035"/>
              <a:gd name="connsiteX28" fmla="*/ 788505 w 1842052"/>
              <a:gd name="connsiteY28" fmla="*/ 841513 h 1206035"/>
              <a:gd name="connsiteX29" fmla="*/ 795131 w 1842052"/>
              <a:gd name="connsiteY29" fmla="*/ 861391 h 1206035"/>
              <a:gd name="connsiteX30" fmla="*/ 821635 w 1842052"/>
              <a:gd name="connsiteY30" fmla="*/ 901148 h 1206035"/>
              <a:gd name="connsiteX31" fmla="*/ 861391 w 1842052"/>
              <a:gd name="connsiteY31" fmla="*/ 967408 h 1206035"/>
              <a:gd name="connsiteX32" fmla="*/ 874644 w 1842052"/>
              <a:gd name="connsiteY32" fmla="*/ 980661 h 1206035"/>
              <a:gd name="connsiteX33" fmla="*/ 887896 w 1842052"/>
              <a:gd name="connsiteY33" fmla="*/ 1000539 h 1206035"/>
              <a:gd name="connsiteX34" fmla="*/ 934278 w 1842052"/>
              <a:gd name="connsiteY34" fmla="*/ 1033669 h 1206035"/>
              <a:gd name="connsiteX35" fmla="*/ 1000539 w 1842052"/>
              <a:gd name="connsiteY35" fmla="*/ 1080052 h 1206035"/>
              <a:gd name="connsiteX36" fmla="*/ 1040296 w 1842052"/>
              <a:gd name="connsiteY36" fmla="*/ 1093304 h 1206035"/>
              <a:gd name="connsiteX37" fmla="*/ 1060174 w 1842052"/>
              <a:gd name="connsiteY37" fmla="*/ 1099930 h 1206035"/>
              <a:gd name="connsiteX38" fmla="*/ 1093305 w 1842052"/>
              <a:gd name="connsiteY38" fmla="*/ 1106556 h 1206035"/>
              <a:gd name="connsiteX39" fmla="*/ 1133061 w 1842052"/>
              <a:gd name="connsiteY39" fmla="*/ 1119808 h 1206035"/>
              <a:gd name="connsiteX40" fmla="*/ 1232452 w 1842052"/>
              <a:gd name="connsiteY40" fmla="*/ 1133061 h 1206035"/>
              <a:gd name="connsiteX41" fmla="*/ 1272209 w 1842052"/>
              <a:gd name="connsiteY41" fmla="*/ 1146313 h 1206035"/>
              <a:gd name="connsiteX42" fmla="*/ 1351722 w 1842052"/>
              <a:gd name="connsiteY42" fmla="*/ 1159565 h 1206035"/>
              <a:gd name="connsiteX43" fmla="*/ 1384852 w 1842052"/>
              <a:gd name="connsiteY43" fmla="*/ 1166191 h 1206035"/>
              <a:gd name="connsiteX44" fmla="*/ 1424609 w 1842052"/>
              <a:gd name="connsiteY44" fmla="*/ 1172817 h 1206035"/>
              <a:gd name="connsiteX45" fmla="*/ 1457739 w 1842052"/>
              <a:gd name="connsiteY45" fmla="*/ 1179443 h 1206035"/>
              <a:gd name="connsiteX46" fmla="*/ 1484244 w 1842052"/>
              <a:gd name="connsiteY46" fmla="*/ 1186069 h 1206035"/>
              <a:gd name="connsiteX47" fmla="*/ 1702905 w 1842052"/>
              <a:gd name="connsiteY47" fmla="*/ 1199321 h 1206035"/>
              <a:gd name="connsiteX48" fmla="*/ 1842052 w 1842052"/>
              <a:gd name="connsiteY48" fmla="*/ 1205948 h 1206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842052" h="1206035">
                <a:moveTo>
                  <a:pt x="0" y="13252"/>
                </a:moveTo>
                <a:cubicBezTo>
                  <a:pt x="18811" y="9490"/>
                  <a:pt x="63077" y="0"/>
                  <a:pt x="79513" y="0"/>
                </a:cubicBezTo>
                <a:cubicBezTo>
                  <a:pt x="121536" y="0"/>
                  <a:pt x="163444" y="4417"/>
                  <a:pt x="205409" y="6626"/>
                </a:cubicBezTo>
                <a:cubicBezTo>
                  <a:pt x="225281" y="9938"/>
                  <a:pt x="267422" y="14837"/>
                  <a:pt x="284922" y="26504"/>
                </a:cubicBezTo>
                <a:cubicBezTo>
                  <a:pt x="323121" y="51970"/>
                  <a:pt x="286274" y="29923"/>
                  <a:pt x="324678" y="46382"/>
                </a:cubicBezTo>
                <a:cubicBezTo>
                  <a:pt x="333757" y="50273"/>
                  <a:pt x="342012" y="55965"/>
                  <a:pt x="351183" y="59634"/>
                </a:cubicBezTo>
                <a:cubicBezTo>
                  <a:pt x="364153" y="64822"/>
                  <a:pt x="390939" y="72887"/>
                  <a:pt x="390939" y="72887"/>
                </a:cubicBezTo>
                <a:cubicBezTo>
                  <a:pt x="404191" y="86139"/>
                  <a:pt x="420300" y="97049"/>
                  <a:pt x="430696" y="112643"/>
                </a:cubicBezTo>
                <a:cubicBezTo>
                  <a:pt x="447413" y="137719"/>
                  <a:pt x="438317" y="126890"/>
                  <a:pt x="457200" y="145774"/>
                </a:cubicBezTo>
                <a:cubicBezTo>
                  <a:pt x="459409" y="152400"/>
                  <a:pt x="460702" y="159405"/>
                  <a:pt x="463826" y="165652"/>
                </a:cubicBezTo>
                <a:cubicBezTo>
                  <a:pt x="472185" y="182371"/>
                  <a:pt x="478004" y="186456"/>
                  <a:pt x="490331" y="198782"/>
                </a:cubicBezTo>
                <a:cubicBezTo>
                  <a:pt x="494748" y="212034"/>
                  <a:pt x="495834" y="226916"/>
                  <a:pt x="503583" y="238539"/>
                </a:cubicBezTo>
                <a:cubicBezTo>
                  <a:pt x="508000" y="245165"/>
                  <a:pt x="513274" y="251294"/>
                  <a:pt x="516835" y="258417"/>
                </a:cubicBezTo>
                <a:cubicBezTo>
                  <a:pt x="534039" y="292825"/>
                  <a:pt x="510828" y="265661"/>
                  <a:pt x="536713" y="291548"/>
                </a:cubicBezTo>
                <a:cubicBezTo>
                  <a:pt x="560876" y="364037"/>
                  <a:pt x="522341" y="254242"/>
                  <a:pt x="556591" y="331304"/>
                </a:cubicBezTo>
                <a:cubicBezTo>
                  <a:pt x="562265" y="344069"/>
                  <a:pt x="562095" y="359438"/>
                  <a:pt x="569844" y="371061"/>
                </a:cubicBezTo>
                <a:cubicBezTo>
                  <a:pt x="607822" y="428029"/>
                  <a:pt x="562289" y="355951"/>
                  <a:pt x="589722" y="410817"/>
                </a:cubicBezTo>
                <a:cubicBezTo>
                  <a:pt x="593283" y="417940"/>
                  <a:pt x="598557" y="424069"/>
                  <a:pt x="602974" y="430695"/>
                </a:cubicBezTo>
                <a:cubicBezTo>
                  <a:pt x="605183" y="437321"/>
                  <a:pt x="606135" y="444510"/>
                  <a:pt x="609600" y="450574"/>
                </a:cubicBezTo>
                <a:cubicBezTo>
                  <a:pt x="637847" y="500007"/>
                  <a:pt x="630772" y="454455"/>
                  <a:pt x="655983" y="530087"/>
                </a:cubicBezTo>
                <a:cubicBezTo>
                  <a:pt x="658192" y="536713"/>
                  <a:pt x="660915" y="543189"/>
                  <a:pt x="662609" y="549965"/>
                </a:cubicBezTo>
                <a:cubicBezTo>
                  <a:pt x="665340" y="560891"/>
                  <a:pt x="665281" y="572550"/>
                  <a:pt x="669235" y="583095"/>
                </a:cubicBezTo>
                <a:cubicBezTo>
                  <a:pt x="672031" y="590552"/>
                  <a:pt x="678070" y="596348"/>
                  <a:pt x="682487" y="602974"/>
                </a:cubicBezTo>
                <a:cubicBezTo>
                  <a:pt x="682601" y="603431"/>
                  <a:pt x="702655" y="689403"/>
                  <a:pt x="708991" y="695739"/>
                </a:cubicBezTo>
                <a:lnTo>
                  <a:pt x="722244" y="708991"/>
                </a:lnTo>
                <a:cubicBezTo>
                  <a:pt x="734392" y="745435"/>
                  <a:pt x="721571" y="712783"/>
                  <a:pt x="742122" y="748748"/>
                </a:cubicBezTo>
                <a:cubicBezTo>
                  <a:pt x="797282" y="845280"/>
                  <a:pt x="724826" y="720781"/>
                  <a:pt x="762000" y="795130"/>
                </a:cubicBezTo>
                <a:cubicBezTo>
                  <a:pt x="765561" y="802253"/>
                  <a:pt x="771301" y="808094"/>
                  <a:pt x="775252" y="815008"/>
                </a:cubicBezTo>
                <a:cubicBezTo>
                  <a:pt x="780153" y="823584"/>
                  <a:pt x="784614" y="832434"/>
                  <a:pt x="788505" y="841513"/>
                </a:cubicBezTo>
                <a:cubicBezTo>
                  <a:pt x="791256" y="847933"/>
                  <a:pt x="791739" y="855285"/>
                  <a:pt x="795131" y="861391"/>
                </a:cubicBezTo>
                <a:cubicBezTo>
                  <a:pt x="802866" y="875314"/>
                  <a:pt x="814512" y="886902"/>
                  <a:pt x="821635" y="901148"/>
                </a:cubicBezTo>
                <a:cubicBezTo>
                  <a:pt x="832092" y="922062"/>
                  <a:pt x="845399" y="951416"/>
                  <a:pt x="861391" y="967408"/>
                </a:cubicBezTo>
                <a:cubicBezTo>
                  <a:pt x="865809" y="971826"/>
                  <a:pt x="870741" y="975783"/>
                  <a:pt x="874644" y="980661"/>
                </a:cubicBezTo>
                <a:cubicBezTo>
                  <a:pt x="879619" y="986879"/>
                  <a:pt x="882265" y="994908"/>
                  <a:pt x="887896" y="1000539"/>
                </a:cubicBezTo>
                <a:cubicBezTo>
                  <a:pt x="898724" y="1011367"/>
                  <a:pt x="921110" y="1024263"/>
                  <a:pt x="934278" y="1033669"/>
                </a:cubicBezTo>
                <a:cubicBezTo>
                  <a:pt x="947508" y="1043119"/>
                  <a:pt x="989114" y="1076244"/>
                  <a:pt x="1000539" y="1080052"/>
                </a:cubicBezTo>
                <a:lnTo>
                  <a:pt x="1040296" y="1093304"/>
                </a:lnTo>
                <a:cubicBezTo>
                  <a:pt x="1046922" y="1095513"/>
                  <a:pt x="1053325" y="1098560"/>
                  <a:pt x="1060174" y="1099930"/>
                </a:cubicBezTo>
                <a:cubicBezTo>
                  <a:pt x="1071218" y="1102139"/>
                  <a:pt x="1082439" y="1103593"/>
                  <a:pt x="1093305" y="1106556"/>
                </a:cubicBezTo>
                <a:cubicBezTo>
                  <a:pt x="1106782" y="1110231"/>
                  <a:pt x="1119233" y="1117833"/>
                  <a:pt x="1133061" y="1119808"/>
                </a:cubicBezTo>
                <a:cubicBezTo>
                  <a:pt x="1197072" y="1128952"/>
                  <a:pt x="1163947" y="1124497"/>
                  <a:pt x="1232452" y="1133061"/>
                </a:cubicBezTo>
                <a:cubicBezTo>
                  <a:pt x="1245704" y="1137478"/>
                  <a:pt x="1258430" y="1144017"/>
                  <a:pt x="1272209" y="1146313"/>
                </a:cubicBezTo>
                <a:cubicBezTo>
                  <a:pt x="1298713" y="1150730"/>
                  <a:pt x="1325374" y="1154295"/>
                  <a:pt x="1351722" y="1159565"/>
                </a:cubicBezTo>
                <a:lnTo>
                  <a:pt x="1384852" y="1166191"/>
                </a:lnTo>
                <a:cubicBezTo>
                  <a:pt x="1398070" y="1168594"/>
                  <a:pt x="1411391" y="1170414"/>
                  <a:pt x="1424609" y="1172817"/>
                </a:cubicBezTo>
                <a:cubicBezTo>
                  <a:pt x="1435689" y="1174832"/>
                  <a:pt x="1446745" y="1177000"/>
                  <a:pt x="1457739" y="1179443"/>
                </a:cubicBezTo>
                <a:cubicBezTo>
                  <a:pt x="1466629" y="1181419"/>
                  <a:pt x="1475217" y="1184865"/>
                  <a:pt x="1484244" y="1186069"/>
                </a:cubicBezTo>
                <a:cubicBezTo>
                  <a:pt x="1551108" y="1194984"/>
                  <a:pt x="1641354" y="1195804"/>
                  <a:pt x="1702905" y="1199321"/>
                </a:cubicBezTo>
                <a:cubicBezTo>
                  <a:pt x="1842588" y="1207303"/>
                  <a:pt x="1738203" y="1205948"/>
                  <a:pt x="1842052" y="1205948"/>
                </a:cubicBezTo>
              </a:path>
            </a:pathLst>
          </a:custGeom>
          <a:noFill/>
          <a:ln w="69850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66221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6B1FF650-93F6-4D20-B541-F0D8A5BA146E}"/>
              </a:ext>
            </a:extLst>
          </p:cNvPr>
          <p:cNvGrpSpPr/>
          <p:nvPr/>
        </p:nvGrpSpPr>
        <p:grpSpPr>
          <a:xfrm>
            <a:off x="6634832" y="3424840"/>
            <a:ext cx="4615771" cy="1565972"/>
            <a:chOff x="6634832" y="3424840"/>
            <a:chExt cx="4615771" cy="1565972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58BCC52-6912-4D22-8D9C-746C37E25F2E}"/>
                </a:ext>
              </a:extLst>
            </p:cNvPr>
            <p:cNvSpPr/>
            <p:nvPr/>
          </p:nvSpPr>
          <p:spPr>
            <a:xfrm>
              <a:off x="6634832" y="3424840"/>
              <a:ext cx="4615771" cy="156597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21" name="Grafik 20">
              <a:hlinkClick r:id="rId2"/>
              <a:extLst>
                <a:ext uri="{FF2B5EF4-FFF2-40B4-BE49-F238E27FC236}">
                  <a16:creationId xmlns:a16="http://schemas.microsoft.com/office/drawing/2014/main" id="{F31B1DA2-B6EA-427A-9AD0-0BD3D37FC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04260" y="3876426"/>
              <a:ext cx="2235590" cy="1023976"/>
            </a:xfrm>
            <a:prstGeom prst="rect">
              <a:avLst/>
            </a:prstGeom>
          </p:spPr>
        </p:pic>
        <p:pic>
          <p:nvPicPr>
            <p:cNvPr id="2050" name="Picture 2" descr="Logo">
              <a:extLst>
                <a:ext uri="{FF2B5EF4-FFF2-40B4-BE49-F238E27FC236}">
                  <a16:creationId xmlns:a16="http://schemas.microsoft.com/office/drawing/2014/main" id="{453D260A-CACD-48DF-80D4-E98E759D7A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9954"/>
            <a:stretch/>
          </p:blipFill>
          <p:spPr bwMode="auto">
            <a:xfrm>
              <a:off x="9313966" y="4018292"/>
              <a:ext cx="1266077" cy="48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56B96A58-EB68-41CB-AFF0-0BF82878BB3B}"/>
                </a:ext>
              </a:extLst>
            </p:cNvPr>
            <p:cNvSpPr txBox="1"/>
            <p:nvPr/>
          </p:nvSpPr>
          <p:spPr>
            <a:xfrm>
              <a:off x="9313966" y="4500292"/>
              <a:ext cx="164019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000" dirty="0"/>
                <a:t>N</a:t>
              </a:r>
              <a:r>
                <a:rPr lang="de-DE" sz="2000" dirty="0">
                  <a:latin typeface="Arial" panose="020B0604020202020204" pitchFamily="34" charset="0"/>
                  <a:cs typeface="Arial" panose="020B0604020202020204" pitchFamily="34" charset="0"/>
                </a:rPr>
                <a:t>ominierung</a:t>
              </a:r>
              <a:endParaRPr lang="en-DE" sz="20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Rechteck: abgerundete Ecken 27">
            <a:extLst>
              <a:ext uri="{FF2B5EF4-FFF2-40B4-BE49-F238E27FC236}">
                <a16:creationId xmlns:a16="http://schemas.microsoft.com/office/drawing/2014/main" id="{0C36EFA6-EBD2-4F06-A382-F7DEF022EE4B}"/>
              </a:ext>
            </a:extLst>
          </p:cNvPr>
          <p:cNvSpPr/>
          <p:nvPr/>
        </p:nvSpPr>
        <p:spPr>
          <a:xfrm>
            <a:off x="3374700" y="4923754"/>
            <a:ext cx="2065589" cy="745525"/>
          </a:xfrm>
          <a:prstGeom prst="roundRect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&gt; 5.500.000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Monatlich aktive Nutzer in Deutschland in 2019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62A55776-A093-4E58-9C0A-39F605338188}"/>
              </a:ext>
            </a:extLst>
          </p:cNvPr>
          <p:cNvSpPr/>
          <p:nvPr/>
        </p:nvSpPr>
        <p:spPr>
          <a:xfrm>
            <a:off x="1177483" y="4923755"/>
            <a:ext cx="2065589" cy="745525"/>
          </a:xfrm>
          <a:prstGeom prst="roundRect">
            <a:avLst/>
          </a:prstGeom>
          <a:solidFill>
            <a:schemeClr val="accent3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&gt; 800.000.000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Monatlich aktive Nutzer weltweit in 2020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95B3A3-15E5-4E58-AD91-DBA825A79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uslöser/ Die Idee</a:t>
            </a: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972CD1-E34F-4518-ABA4-1935C47B44B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3225001-2C8A-4A2F-8069-52FC97DED96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D22EACB5-F64A-4CFF-9190-85C678FD8DE0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E97AA16-F2E2-4B2D-81DA-8B074CD9EBE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5017A59-8930-4453-A956-2BCE3DEF98A2}" type="slidenum">
              <a:rPr lang="de-DE" altLang="de-DE" smtClean="0"/>
              <a:pPr/>
              <a:t>2</a:t>
            </a:fld>
            <a:endParaRPr lang="de-DE" alt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EA8E188-8BCB-4660-8E09-88E8CC3E75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7483" y="1981771"/>
            <a:ext cx="4262806" cy="300904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9DFBD9FE-4F72-4201-A78B-940CB7027857}"/>
              </a:ext>
            </a:extLst>
          </p:cNvPr>
          <p:cNvSpPr/>
          <p:nvPr/>
        </p:nvSpPr>
        <p:spPr>
          <a:xfrm rot="1798899">
            <a:off x="4036356" y="3766233"/>
            <a:ext cx="656318" cy="611364"/>
          </a:xfrm>
          <a:prstGeom prst="rightArrow">
            <a:avLst/>
          </a:prstGeom>
          <a:solidFill>
            <a:schemeClr val="accent5">
              <a:lumMod val="50000"/>
            </a:schemeClr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5F8E76B-49B5-4C5E-9E0A-0616742B668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1145"/>
          <a:stretch/>
        </p:blipFill>
        <p:spPr>
          <a:xfrm>
            <a:off x="6634832" y="1981771"/>
            <a:ext cx="4615771" cy="1475563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868214B4-24B9-44BA-8E26-AFCB3847207B}"/>
              </a:ext>
            </a:extLst>
          </p:cNvPr>
          <p:cNvSpPr/>
          <p:nvPr/>
        </p:nvSpPr>
        <p:spPr>
          <a:xfrm>
            <a:off x="7761782" y="2837709"/>
            <a:ext cx="1484487" cy="500843"/>
          </a:xfrm>
          <a:prstGeom prst="ellipse">
            <a:avLst/>
          </a:prstGeom>
          <a:noFill/>
          <a:ln w="57150">
            <a:solidFill>
              <a:schemeClr val="accent5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D0B14542-7D4F-4793-857E-3FA853ACF6A2}"/>
              </a:ext>
            </a:extLst>
          </p:cNvPr>
          <p:cNvSpPr/>
          <p:nvPr/>
        </p:nvSpPr>
        <p:spPr>
          <a:xfrm rot="1798899">
            <a:off x="7159495" y="2369587"/>
            <a:ext cx="656318" cy="611364"/>
          </a:xfrm>
          <a:prstGeom prst="rightArrow">
            <a:avLst/>
          </a:prstGeom>
          <a:solidFill>
            <a:schemeClr val="accent5">
              <a:lumMod val="50000"/>
            </a:schemeClr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4FEBC93D-0C66-4571-86E4-4A33EE021CAD}"/>
              </a:ext>
            </a:extLst>
          </p:cNvPr>
          <p:cNvSpPr/>
          <p:nvPr/>
        </p:nvSpPr>
        <p:spPr>
          <a:xfrm>
            <a:off x="1206501" y="1046747"/>
            <a:ext cx="794085" cy="794085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3600" b="1" dirty="0">
                <a:solidFill>
                  <a:schemeClr val="bg1"/>
                </a:solidFill>
              </a:rPr>
              <a:t>1</a:t>
            </a:r>
            <a:endParaRPr lang="en-DE" sz="3600" b="1" dirty="0">
              <a:solidFill>
                <a:schemeClr val="bg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DEBEE1B-EFE1-4C2F-ABAB-D0735ED588B7}"/>
              </a:ext>
            </a:extLst>
          </p:cNvPr>
          <p:cNvSpPr txBox="1"/>
          <p:nvPr/>
        </p:nvSpPr>
        <p:spPr>
          <a:xfrm>
            <a:off x="2022321" y="1047834"/>
            <a:ext cx="26967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emes Wachstum</a:t>
            </a:r>
            <a:br>
              <a:rPr lang="de-DE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Plattform </a:t>
            </a:r>
            <a:r>
              <a:rPr lang="de-DE" sz="2000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kTok</a:t>
            </a:r>
            <a:endParaRPr lang="en-DE" sz="2000" b="1" dirty="0" err="1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4004D012-90E8-4FD9-8448-D4005BD80128}"/>
              </a:ext>
            </a:extLst>
          </p:cNvPr>
          <p:cNvSpPr/>
          <p:nvPr/>
        </p:nvSpPr>
        <p:spPr>
          <a:xfrm>
            <a:off x="6532771" y="1048921"/>
            <a:ext cx="794085" cy="794085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3600" b="1" dirty="0">
                <a:solidFill>
                  <a:schemeClr val="bg1"/>
                </a:solidFill>
              </a:rPr>
              <a:t>2</a:t>
            </a:r>
            <a:endParaRPr lang="en-DE" sz="3600" b="1" dirty="0">
              <a:solidFill>
                <a:schemeClr val="bg1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6A62A11-E5CD-466C-A18B-D972EF3B67DA}"/>
              </a:ext>
            </a:extLst>
          </p:cNvPr>
          <p:cNvSpPr txBox="1"/>
          <p:nvPr/>
        </p:nvSpPr>
        <p:spPr>
          <a:xfrm>
            <a:off x="7348591" y="1050008"/>
            <a:ext cx="364555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schemeClr val="bg1">
                    <a:lumMod val="50000"/>
                  </a:schemeClr>
                </a:solidFill>
              </a:rPr>
              <a:t>Großes und stark genutztes </a:t>
            </a:r>
          </a:p>
          <a:p>
            <a:r>
              <a:rPr lang="de-DE" sz="2000" b="1" dirty="0">
                <a:solidFill>
                  <a:schemeClr val="bg1">
                    <a:lumMod val="50000"/>
                  </a:schemeClr>
                </a:solidFill>
              </a:rPr>
              <a:t>Angebot an Lehrinhalten</a:t>
            </a:r>
            <a:endParaRPr lang="en-DE" sz="2000" b="1" dirty="0" err="1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748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2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4" grpId="0" animBg="1"/>
      <p:bldP spid="10" grpId="0" animBg="1"/>
      <p:bldP spid="10" grpId="1" animBg="1"/>
      <p:bldP spid="16" grpId="0" animBg="1"/>
      <p:bldP spid="16" grpId="1" animBg="1"/>
      <p:bldP spid="17" grpId="0" animBg="1"/>
      <p:bldP spid="17" grpId="1" animBg="1"/>
      <p:bldP spid="22" grpId="0" animBg="1"/>
      <p:bldP spid="23" grpId="0"/>
      <p:bldP spid="25" grpId="0" animBg="1"/>
      <p:bldP spid="2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61CE12-C006-4BC2-AC19-1B2889E9F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/ Forschungsfragen</a:t>
            </a: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DD644FE-112B-4C3C-B398-669311AF93C4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  <a:p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B0DA9AA-9003-414A-B33E-90633BA255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2C73487-6ADA-4FD4-974D-2422BF3280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C3C57D-41C4-4B34-99A3-2A2D42ACD650}"/>
              </a:ext>
            </a:extLst>
          </p:cNvPr>
          <p:cNvSpPr/>
          <p:nvPr/>
        </p:nvSpPr>
        <p:spPr>
          <a:xfrm>
            <a:off x="2542320" y="2036572"/>
            <a:ext cx="8303259" cy="94533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ie kann ein </a:t>
            </a:r>
            <a:r>
              <a:rPr lang="de-DE" b="1" dirty="0" err="1">
                <a:solidFill>
                  <a:schemeClr val="accent3"/>
                </a:solidFill>
              </a:rPr>
              <a:t>TikTok</a:t>
            </a:r>
            <a:r>
              <a:rPr lang="de-DE" b="1" dirty="0">
                <a:solidFill>
                  <a:schemeClr val="accent3"/>
                </a:solidFill>
              </a:rPr>
              <a:t>-ähnliches Format</a:t>
            </a:r>
            <a:r>
              <a:rPr lang="de-DE" b="1" dirty="0">
                <a:solidFill>
                  <a:schemeClr val="tx1"/>
                </a:solidFill>
              </a:rPr>
              <a:t> sinnvoll in der Lehre eingesetzt werden?</a:t>
            </a:r>
            <a:endParaRPr lang="en-DE" b="1" dirty="0">
              <a:solidFill>
                <a:schemeClr val="tx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C34D2B8-07EB-40BB-B2FE-0461FCBB3785}"/>
              </a:ext>
            </a:extLst>
          </p:cNvPr>
          <p:cNvSpPr/>
          <p:nvPr/>
        </p:nvSpPr>
        <p:spPr>
          <a:xfrm>
            <a:off x="2540732" y="3073582"/>
            <a:ext cx="8303259" cy="94533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Wozu wäre ein mögliches Format besser geeignet: </a:t>
            </a:r>
            <a:br>
              <a:rPr lang="de-DE" b="1" dirty="0">
                <a:solidFill>
                  <a:schemeClr val="tx1"/>
                </a:solidFill>
              </a:rPr>
            </a:br>
            <a:r>
              <a:rPr lang="de-DE" b="1" dirty="0">
                <a:solidFill>
                  <a:schemeClr val="tx1"/>
                </a:solidFill>
              </a:rPr>
              <a:t>Vertiefung </a:t>
            </a:r>
            <a:r>
              <a:rPr lang="de-DE" b="1" dirty="0">
                <a:solidFill>
                  <a:schemeClr val="accent1"/>
                </a:solidFill>
              </a:rPr>
              <a:t>ex-post</a:t>
            </a:r>
            <a:r>
              <a:rPr lang="de-DE" b="1" dirty="0">
                <a:solidFill>
                  <a:schemeClr val="tx1"/>
                </a:solidFill>
              </a:rPr>
              <a:t> oder Impuls </a:t>
            </a:r>
            <a:r>
              <a:rPr lang="de-DE" b="1" dirty="0">
                <a:solidFill>
                  <a:schemeClr val="accent1"/>
                </a:solidFill>
              </a:rPr>
              <a:t>ex-ante</a:t>
            </a:r>
            <a:r>
              <a:rPr lang="de-DE" b="1" dirty="0">
                <a:solidFill>
                  <a:schemeClr val="tx1"/>
                </a:solidFill>
              </a:rPr>
              <a:t>?</a:t>
            </a:r>
            <a:endParaRPr lang="en-DE" b="1" dirty="0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1F15E6C-57D3-4616-BD39-D105FF2D81A6}"/>
              </a:ext>
            </a:extLst>
          </p:cNvPr>
          <p:cNvSpPr/>
          <p:nvPr/>
        </p:nvSpPr>
        <p:spPr>
          <a:xfrm>
            <a:off x="1876508" y="2036572"/>
            <a:ext cx="477080" cy="945333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 b="1" dirty="0">
              <a:solidFill>
                <a:schemeClr val="bg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D3A5D10-F32B-4DFE-AA97-BAB1EFFA1B62}"/>
              </a:ext>
            </a:extLst>
          </p:cNvPr>
          <p:cNvSpPr/>
          <p:nvPr/>
        </p:nvSpPr>
        <p:spPr>
          <a:xfrm>
            <a:off x="1874920" y="3073582"/>
            <a:ext cx="477080" cy="945333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 b="1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5C7529D-7BFB-478A-8A79-8F17464E0EC5}"/>
              </a:ext>
            </a:extLst>
          </p:cNvPr>
          <p:cNvSpPr/>
          <p:nvPr/>
        </p:nvSpPr>
        <p:spPr>
          <a:xfrm>
            <a:off x="2542320" y="4110592"/>
            <a:ext cx="8303259" cy="94533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tx1"/>
                </a:solidFill>
              </a:rPr>
              <a:t>Konsument*in vs. Ersteller*in:</a:t>
            </a:r>
            <a:br>
              <a:rPr lang="de-DE" b="1" dirty="0">
                <a:solidFill>
                  <a:schemeClr val="tx1"/>
                </a:solidFill>
              </a:rPr>
            </a:br>
            <a:r>
              <a:rPr lang="de-DE" b="1" dirty="0">
                <a:solidFill>
                  <a:schemeClr val="tx1"/>
                </a:solidFill>
              </a:rPr>
              <a:t>Kann eigene Erfahrung mit der Verdichtung von Inhalten dabei helfen, </a:t>
            </a:r>
            <a:r>
              <a:rPr lang="de-DE" b="1" dirty="0">
                <a:solidFill>
                  <a:schemeClr val="accent2"/>
                </a:solidFill>
              </a:rPr>
              <a:t>kritische Reflexionsprozesse beim Konsum</a:t>
            </a:r>
            <a:r>
              <a:rPr lang="de-DE" b="1" dirty="0">
                <a:solidFill>
                  <a:schemeClr val="tx1"/>
                </a:solidFill>
              </a:rPr>
              <a:t> zu fördern?</a:t>
            </a:r>
            <a:endParaRPr lang="en-DE" b="1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196C48E-0E93-4D55-AD6E-E57C2039ACF6}"/>
              </a:ext>
            </a:extLst>
          </p:cNvPr>
          <p:cNvSpPr/>
          <p:nvPr/>
        </p:nvSpPr>
        <p:spPr>
          <a:xfrm>
            <a:off x="1876508" y="4110592"/>
            <a:ext cx="477080" cy="945333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570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2" grpId="0" animBg="1"/>
      <p:bldP spid="23" grpId="0" animBg="1"/>
      <p:bldP spid="25" grpId="0" animBg="1"/>
      <p:bldP spid="13" grpId="0" animBg="1"/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833C361-895C-4B4E-8A66-F22BAE7BE9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5" imgW="408" imgH="408" progId="TCLayout.ActiveDocument.1">
                  <p:embed/>
                </p:oleObj>
              </mc:Choice>
              <mc:Fallback>
                <p:oleObj name="think-cell Folie" r:id="rId5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833C361-895C-4B4E-8A66-F22BAE7BE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D8504EB-82F9-4AE6-A4C5-7455E1A46F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4B914C-518C-46CA-B015-96B05BE83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Format „</a:t>
            </a:r>
            <a:r>
              <a:rPr lang="de-DE" dirty="0" err="1"/>
              <a:t>One</a:t>
            </a:r>
            <a:r>
              <a:rPr lang="de-DE" dirty="0"/>
              <a:t>-Slide-About“ - Lernziel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8668DDA-B2C8-4F67-AAC3-CEAB5E496FD2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Personalmanagement - Organisatorisches</a:t>
            </a:r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DB9563A-82D5-49CB-9503-A6568D2C592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06500" y="5892594"/>
            <a:ext cx="1295400" cy="179387"/>
          </a:xfrm>
        </p:spPr>
        <p:txBody>
          <a:bodyPr/>
          <a:lstStyle/>
          <a:p>
            <a:pPr>
              <a:defRPr/>
            </a:pPr>
            <a:fld id="{D22EACB5-F64A-4CFF-9190-85C678FD8DE0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79C84E-CF10-4C23-920E-78F6C780289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5017A59-8930-4453-A956-2BCE3DEF98A2}" type="slidenum">
              <a:rPr lang="de-DE" altLang="de-DE" smtClean="0"/>
              <a:pPr/>
              <a:t>4</a:t>
            </a:fld>
            <a:endParaRPr lang="de-DE" altLang="de-DE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63C325CB-F312-4AC2-8D49-EEA6B3D2E8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103292"/>
              </p:ext>
            </p:extLst>
          </p:nvPr>
        </p:nvGraphicFramePr>
        <p:xfrm>
          <a:off x="1206500" y="1946225"/>
          <a:ext cx="6506265" cy="3474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62989">
                  <a:extLst>
                    <a:ext uri="{9D8B030D-6E8A-4147-A177-3AD203B41FA5}">
                      <a16:colId xmlns:a16="http://schemas.microsoft.com/office/drawing/2014/main" val="4218126757"/>
                    </a:ext>
                  </a:extLst>
                </a:gridCol>
                <a:gridCol w="5343276">
                  <a:extLst>
                    <a:ext uri="{9D8B030D-6E8A-4147-A177-3AD203B41FA5}">
                      <a16:colId xmlns:a16="http://schemas.microsoft.com/office/drawing/2014/main" val="41549580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kern="1200" dirty="0">
                          <a:solidFill>
                            <a:schemeClr val="bg1"/>
                          </a:solidFill>
                        </a:rPr>
                        <a:t>WAS</a:t>
                      </a: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/>
                      <a:r>
                        <a:rPr lang="de-DE" sz="1600" i="1" dirty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Die Studierenden können komplexe Inhalte auf einem einzelnen Slide und in Form einer maximal drei minütigen Präsentation aufbereiten,</a:t>
                      </a: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61647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OMIT</a:t>
                      </a: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600" b="0" i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dem sie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b="0" i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ich selbstständig fundiertes theoretisches Wissen zu einer komplexen Fragestellung aneignen,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b="0" i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ieses Wissen auf eine </a:t>
                      </a:r>
                      <a:r>
                        <a:rPr lang="de-DE" sz="160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rnaussage verdichten</a:t>
                      </a:r>
                      <a:r>
                        <a:rPr lang="de-DE" sz="16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de-DE" sz="1600" b="0" i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nd diese Kernaussage pointiert </a:t>
                      </a:r>
                      <a:r>
                        <a:rPr lang="de-DE" sz="160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f einer einzelnen Folie (</a:t>
                      </a:r>
                      <a:r>
                        <a:rPr lang="de-DE" sz="1600" b="1" i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e</a:t>
                      </a:r>
                      <a:r>
                        <a:rPr lang="de-DE" sz="160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Slide-About)</a:t>
                      </a:r>
                      <a:r>
                        <a:rPr lang="de-DE" sz="1800" b="1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b="0" i="1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ufbereiten,</a:t>
                      </a: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23588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OZU</a:t>
                      </a: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2" indent="0">
                        <a:buNone/>
                      </a:pPr>
                      <a:r>
                        <a:rPr lang="de-DE" sz="1600" i="1" dirty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damit Sie komplexe Sachverhalten in einem beruflichen Kontext für den s.g. C-Level aufbereiten und die Grenzen einer solchen inhaltliche Kondensierung reflektieren können.</a:t>
                      </a: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361357"/>
                  </a:ext>
                </a:extLst>
              </a:tr>
            </a:tbl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B73F92E-1077-4388-9DB1-8B3968E0E708}"/>
              </a:ext>
            </a:extLst>
          </p:cNvPr>
          <p:cNvSpPr txBox="1"/>
          <p:nvPr/>
        </p:nvSpPr>
        <p:spPr>
          <a:xfrm>
            <a:off x="1140774" y="1314000"/>
            <a:ext cx="42017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Learning Outcome (Ersteller*innen)</a:t>
            </a:r>
            <a:endParaRPr lang="en-DE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52D5609-AAB4-4458-B34B-A2DCEE34E945}"/>
              </a:ext>
            </a:extLst>
          </p:cNvPr>
          <p:cNvSpPr txBox="1"/>
          <p:nvPr/>
        </p:nvSpPr>
        <p:spPr>
          <a:xfrm>
            <a:off x="8497057" y="1125493"/>
            <a:ext cx="229261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Noch (?) </a:t>
            </a:r>
            <a:r>
              <a:rPr lang="de-DE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Learning Outcome</a:t>
            </a:r>
            <a:endParaRPr lang="en-DE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BB41511-DA28-47F6-A2A1-5BFF4061C591}"/>
              </a:ext>
            </a:extLst>
          </p:cNvPr>
          <p:cNvSpPr/>
          <p:nvPr/>
        </p:nvSpPr>
        <p:spPr>
          <a:xfrm>
            <a:off x="8568617" y="3696032"/>
            <a:ext cx="2877710" cy="120410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/>
              <a:t>Die Entwicklung von </a:t>
            </a:r>
            <a:r>
              <a:rPr lang="de-DE" sz="1600" i="1" dirty="0"/>
              <a:t>Kreativität</a:t>
            </a:r>
            <a:r>
              <a:rPr lang="de-DE" sz="1600" dirty="0"/>
              <a:t> und/ oder </a:t>
            </a:r>
            <a:r>
              <a:rPr lang="de-DE" sz="1600" i="1" dirty="0"/>
              <a:t>Medienkompetenzen.</a:t>
            </a:r>
            <a:endParaRPr lang="de-DE" sz="16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7E1AF8D-32DB-47CC-875E-86C745CF90EC}"/>
              </a:ext>
            </a:extLst>
          </p:cNvPr>
          <p:cNvSpPr/>
          <p:nvPr/>
        </p:nvSpPr>
        <p:spPr>
          <a:xfrm>
            <a:off x="8568617" y="2381936"/>
            <a:ext cx="2877710" cy="90011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i="1" dirty="0"/>
              <a:t>Kritische Reflexion</a:t>
            </a:r>
            <a:r>
              <a:rPr lang="de-DE" sz="1600" dirty="0"/>
              <a:t> </a:t>
            </a:r>
            <a:r>
              <a:rPr lang="de-DE" sz="1600"/>
              <a:t>verdichteter Inhalte.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741804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61CE12-C006-4BC2-AC19-1B2889E9F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ypothesen</a:t>
            </a: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DD644FE-112B-4C3C-B398-669311AF93C4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  <a:p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B0DA9AA-9003-414A-B33E-90633BA255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2C73487-6ADA-4FD4-974D-2422BF3280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2C3C57D-41C4-4B34-99A3-2A2D42ACD650}"/>
              </a:ext>
            </a:extLst>
          </p:cNvPr>
          <p:cNvSpPr/>
          <p:nvPr/>
        </p:nvSpPr>
        <p:spPr>
          <a:xfrm>
            <a:off x="1206501" y="2102050"/>
            <a:ext cx="2562418" cy="671994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bg1"/>
                </a:solidFill>
              </a:rPr>
              <a:t>TikTok</a:t>
            </a:r>
            <a:r>
              <a:rPr lang="de-DE" sz="1600" b="1" dirty="0">
                <a:solidFill>
                  <a:schemeClr val="bg1"/>
                </a:solidFill>
              </a:rPr>
              <a:t> in der Lehre</a:t>
            </a:r>
            <a:endParaRPr lang="en-DE" sz="1600" b="1" dirty="0">
              <a:solidFill>
                <a:schemeClr val="bg1"/>
              </a:solidFill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BAC60DE-CB1A-4C2D-9419-BF66BB45EAE3}"/>
              </a:ext>
            </a:extLst>
          </p:cNvPr>
          <p:cNvGrpSpPr/>
          <p:nvPr/>
        </p:nvGrpSpPr>
        <p:grpSpPr>
          <a:xfrm>
            <a:off x="4027626" y="2110004"/>
            <a:ext cx="7693354" cy="671994"/>
            <a:chOff x="4027626" y="1623928"/>
            <a:chExt cx="7693354" cy="52657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504D9173-ADBF-4623-89EF-679492DA773A}"/>
                </a:ext>
              </a:extLst>
            </p:cNvPr>
            <p:cNvSpPr/>
            <p:nvPr/>
          </p:nvSpPr>
          <p:spPr>
            <a:xfrm>
              <a:off x="4659316" y="1623928"/>
              <a:ext cx="7061664" cy="52657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400" i="1" dirty="0"/>
                <a:t>Das Format „</a:t>
              </a:r>
              <a:r>
                <a:rPr lang="de-DE" sz="1400" i="1" dirty="0" err="1"/>
                <a:t>One</a:t>
              </a:r>
              <a:r>
                <a:rPr lang="de-DE" sz="1400" i="1" dirty="0"/>
                <a:t>-Slide-About“ ist gut geeignet, um in einer Veranstaltung Interesse für spezifische Aspekte eines Themas zu wecken.</a:t>
              </a:r>
              <a:endParaRPr lang="en-DE" sz="1400" i="1" dirty="0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B3E01516-89A4-44CD-BF9F-E7F39E78617D}"/>
                </a:ext>
              </a:extLst>
            </p:cNvPr>
            <p:cNvSpPr/>
            <p:nvPr/>
          </p:nvSpPr>
          <p:spPr>
            <a:xfrm>
              <a:off x="4027626" y="1623928"/>
              <a:ext cx="636105" cy="52657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H1</a:t>
              </a:r>
              <a:endParaRPr lang="en-DE" sz="1600" dirty="0"/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9FAC893C-456E-4DF1-A501-75979A5FCD08}"/>
              </a:ext>
            </a:extLst>
          </p:cNvPr>
          <p:cNvGrpSpPr/>
          <p:nvPr/>
        </p:nvGrpSpPr>
        <p:grpSpPr>
          <a:xfrm>
            <a:off x="4029214" y="2928921"/>
            <a:ext cx="7699370" cy="671994"/>
            <a:chOff x="4027626" y="4502631"/>
            <a:chExt cx="7699370" cy="52657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3B7B3C41-4948-4DAE-86A1-B775E17BD062}"/>
                </a:ext>
              </a:extLst>
            </p:cNvPr>
            <p:cNvSpPr/>
            <p:nvPr/>
          </p:nvSpPr>
          <p:spPr>
            <a:xfrm>
              <a:off x="4665332" y="4502631"/>
              <a:ext cx="7061664" cy="52657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400" i="1" dirty="0" err="1"/>
                <a:t>Teilnehmer:innen</a:t>
              </a:r>
              <a:r>
                <a:rPr lang="de-DE" sz="1400" i="1" dirty="0"/>
                <a:t> empfinden das Format als </a:t>
              </a:r>
              <a:r>
                <a:rPr lang="de-DE" sz="1400" i="1" dirty="0" err="1"/>
                <a:t>Zuhörer:innen</a:t>
              </a:r>
              <a:r>
                <a:rPr lang="de-DE" sz="1400" i="1" dirty="0"/>
                <a:t> ex-post als hilfreicher, da sie über mehr Vorwissen verfügen um die Inhalte verknüpfen zu können. </a:t>
              </a:r>
              <a:endParaRPr lang="en-DE" sz="1400" i="1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EEF86747-8668-49E7-A847-E7E536CE920F}"/>
                </a:ext>
              </a:extLst>
            </p:cNvPr>
            <p:cNvSpPr/>
            <p:nvPr/>
          </p:nvSpPr>
          <p:spPr>
            <a:xfrm>
              <a:off x="4027626" y="4502631"/>
              <a:ext cx="636105" cy="52657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H2</a:t>
              </a:r>
              <a:endParaRPr lang="en-DE" sz="1600" dirty="0"/>
            </a:p>
          </p:txBody>
        </p:sp>
      </p:grpSp>
      <p:sp>
        <p:nvSpPr>
          <p:cNvPr id="22" name="Rechteck 21">
            <a:extLst>
              <a:ext uri="{FF2B5EF4-FFF2-40B4-BE49-F238E27FC236}">
                <a16:creationId xmlns:a16="http://schemas.microsoft.com/office/drawing/2014/main" id="{5C34D2B8-07EB-40BB-B2FE-0461FCBB3785}"/>
              </a:ext>
            </a:extLst>
          </p:cNvPr>
          <p:cNvSpPr/>
          <p:nvPr/>
        </p:nvSpPr>
        <p:spPr>
          <a:xfrm>
            <a:off x="1206501" y="2928921"/>
            <a:ext cx="2562418" cy="67199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Vertiefung ex-post oder Impuls ex-ante</a:t>
            </a:r>
            <a:endParaRPr lang="en-DE" sz="1600" b="1" dirty="0">
              <a:solidFill>
                <a:schemeClr val="bg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35E8C2F-2AFF-4100-B267-C7EBFF80C329}"/>
              </a:ext>
            </a:extLst>
          </p:cNvPr>
          <p:cNvSpPr txBox="1"/>
          <p:nvPr/>
        </p:nvSpPr>
        <p:spPr>
          <a:xfrm>
            <a:off x="1129086" y="1521470"/>
            <a:ext cx="2989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Forschungsfragen</a:t>
            </a:r>
            <a:endParaRPr lang="en-DE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33C106B-53AF-4D8B-9DEE-BFFC312654BC}"/>
              </a:ext>
            </a:extLst>
          </p:cNvPr>
          <p:cNvSpPr txBox="1"/>
          <p:nvPr/>
        </p:nvSpPr>
        <p:spPr>
          <a:xfrm>
            <a:off x="4027626" y="1539127"/>
            <a:ext cx="2989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Hypothesen</a:t>
            </a:r>
            <a:endParaRPr lang="en-DE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C261EE88-64BF-4432-ACAD-074CC457C202}"/>
              </a:ext>
            </a:extLst>
          </p:cNvPr>
          <p:cNvSpPr/>
          <p:nvPr/>
        </p:nvSpPr>
        <p:spPr>
          <a:xfrm>
            <a:off x="1206501" y="3755792"/>
            <a:ext cx="2562418" cy="678337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Ersteller*innen vs. Konsument*innen</a:t>
            </a:r>
            <a:endParaRPr lang="en-DE" sz="1600" b="1" dirty="0">
              <a:solidFill>
                <a:schemeClr val="bg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ED1F6D5-7974-433D-A0EE-3F435B457DD2}"/>
              </a:ext>
            </a:extLst>
          </p:cNvPr>
          <p:cNvGrpSpPr/>
          <p:nvPr/>
        </p:nvGrpSpPr>
        <p:grpSpPr>
          <a:xfrm>
            <a:off x="4029214" y="3755792"/>
            <a:ext cx="7699370" cy="678337"/>
            <a:chOff x="4027626" y="3757668"/>
            <a:chExt cx="7699370" cy="526570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816CF8F-C2AF-448D-B846-CF655EDA2E86}"/>
                </a:ext>
              </a:extLst>
            </p:cNvPr>
            <p:cNvSpPr/>
            <p:nvPr/>
          </p:nvSpPr>
          <p:spPr>
            <a:xfrm>
              <a:off x="4665332" y="3757668"/>
              <a:ext cx="7061664" cy="52657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400" i="1" dirty="0" err="1"/>
                <a:t>Ersteller:innen</a:t>
              </a:r>
              <a:r>
                <a:rPr lang="de-DE" sz="1400" i="1" dirty="0"/>
                <a:t> ziehen größeren inhaltlichen Nutzen aus dem Format, als </a:t>
              </a:r>
              <a:r>
                <a:rPr lang="de-DE" sz="1400" i="1" dirty="0" err="1"/>
                <a:t>Konsument:innen</a:t>
              </a:r>
              <a:r>
                <a:rPr lang="de-DE" sz="1400" i="1" dirty="0"/>
                <a:t>. </a:t>
              </a:r>
              <a:endParaRPr lang="en-DE" sz="1400" i="1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B1F6B204-A97E-4113-96FA-CC981E0DED91}"/>
                </a:ext>
              </a:extLst>
            </p:cNvPr>
            <p:cNvSpPr/>
            <p:nvPr/>
          </p:nvSpPr>
          <p:spPr>
            <a:xfrm>
              <a:off x="4027626" y="3757668"/>
              <a:ext cx="636105" cy="52657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H3</a:t>
              </a:r>
              <a:endParaRPr lang="en-DE" sz="1600" dirty="0"/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E41F080B-A92A-4D63-88A4-E397A052B492}"/>
              </a:ext>
            </a:extLst>
          </p:cNvPr>
          <p:cNvGrpSpPr/>
          <p:nvPr/>
        </p:nvGrpSpPr>
        <p:grpSpPr>
          <a:xfrm>
            <a:off x="4027626" y="4556665"/>
            <a:ext cx="7693354" cy="671994"/>
            <a:chOff x="4027626" y="4502631"/>
            <a:chExt cx="7693354" cy="526570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1047E26E-691B-4B00-A417-B428653CBEA3}"/>
                </a:ext>
              </a:extLst>
            </p:cNvPr>
            <p:cNvSpPr/>
            <p:nvPr/>
          </p:nvSpPr>
          <p:spPr>
            <a:xfrm>
              <a:off x="4659316" y="4502631"/>
              <a:ext cx="7061664" cy="52657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400" i="1" dirty="0"/>
                <a:t>Regelmäßige Diskussionen (ex-post) fördern die kritische Auseinandersetzung mit den Inhalten stärker als die individuelle Reflexion im Lernportfolio.</a:t>
              </a:r>
              <a:endParaRPr lang="en-DE" sz="1400" i="1" dirty="0"/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5A604159-38F4-46E4-B174-917527961DF4}"/>
                </a:ext>
              </a:extLst>
            </p:cNvPr>
            <p:cNvSpPr/>
            <p:nvPr/>
          </p:nvSpPr>
          <p:spPr>
            <a:xfrm>
              <a:off x="4027626" y="4502631"/>
              <a:ext cx="636105" cy="52657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dirty="0"/>
                <a:t>H4</a:t>
              </a:r>
              <a:endParaRPr lang="en-DE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6741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7A9F06-43E6-44F4-8E12-6A96FC4D6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uchungsdesign: „Stichprobenvergleich“</a:t>
            </a: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5015147-A84B-4CBA-8F8E-EB9952591487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241EEED-78DA-4484-986F-8A39286E735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84A6B13-4BD0-49E1-AA62-D65E6E06C2F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E3D82EE-ECFD-4743-932A-03EE528A52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683674"/>
              </p:ext>
            </p:extLst>
          </p:nvPr>
        </p:nvGraphicFramePr>
        <p:xfrm>
          <a:off x="1206500" y="1324042"/>
          <a:ext cx="10798175" cy="3926905"/>
        </p:xfrm>
        <a:graphic>
          <a:graphicData uri="http://schemas.openxmlformats.org/drawingml/2006/table">
            <a:tbl>
              <a:tblPr firstRow="1" firstCol="1" bandRow="1">
                <a:tableStyleId>{073A0DAA-6AF3-43AB-8588-CEC1D06C72B9}</a:tableStyleId>
              </a:tblPr>
              <a:tblGrid>
                <a:gridCol w="2096169">
                  <a:extLst>
                    <a:ext uri="{9D8B030D-6E8A-4147-A177-3AD203B41FA5}">
                      <a16:colId xmlns:a16="http://schemas.microsoft.com/office/drawing/2014/main" val="673697577"/>
                    </a:ext>
                  </a:extLst>
                </a:gridCol>
                <a:gridCol w="4657481">
                  <a:extLst>
                    <a:ext uri="{9D8B030D-6E8A-4147-A177-3AD203B41FA5}">
                      <a16:colId xmlns:a16="http://schemas.microsoft.com/office/drawing/2014/main" val="3883953272"/>
                    </a:ext>
                  </a:extLst>
                </a:gridCol>
                <a:gridCol w="4044525">
                  <a:extLst>
                    <a:ext uri="{9D8B030D-6E8A-4147-A177-3AD203B41FA5}">
                      <a16:colId xmlns:a16="http://schemas.microsoft.com/office/drawing/2014/main" val="4170236666"/>
                    </a:ext>
                  </a:extLst>
                </a:gridCol>
              </a:tblGrid>
              <a:tr h="2577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700" dirty="0">
                          <a:effectLst/>
                        </a:rPr>
                        <a:t> </a:t>
                      </a:r>
                      <a:endParaRPr lang="en-DE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700" dirty="0">
                          <a:effectLst/>
                        </a:rPr>
                        <a:t>Gruppe 1 (G1)</a:t>
                      </a:r>
                      <a:endParaRPr lang="en-DE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700" dirty="0">
                          <a:effectLst/>
                        </a:rPr>
                        <a:t>Gruppe 2 (G2)</a:t>
                      </a:r>
                      <a:endParaRPr lang="en-DE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075707"/>
                  </a:ext>
                </a:extLst>
              </a:tr>
              <a:tr h="2577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b="0" dirty="0">
                          <a:effectLst/>
                        </a:rPr>
                        <a:t>Kurs</a:t>
                      </a:r>
                      <a:endParaRPr lang="en-DE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Personalmanagement 2</a:t>
                      </a:r>
                      <a:endParaRPr lang="en-DE" sz="16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Digitale Arbeitswelt</a:t>
                      </a:r>
                      <a:endParaRPr lang="en-DE" sz="16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14661"/>
                  </a:ext>
                </a:extLst>
              </a:tr>
              <a:tr h="4330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b="0" dirty="0">
                          <a:effectLst/>
                        </a:rPr>
                        <a:t>Infos zum Kurs</a:t>
                      </a:r>
                      <a:endParaRPr lang="en-DE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B.Sc. Pflichtkurs im Schwerpunkt</a:t>
                      </a:r>
                      <a:endParaRPr lang="en-DE" sz="16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B.Sc. Wahlpflichtkurs im Schwerpunkt</a:t>
                      </a:r>
                      <a:endParaRPr lang="en-DE" sz="16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6474821"/>
                  </a:ext>
                </a:extLst>
              </a:tr>
              <a:tr h="2577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b="0" dirty="0">
                          <a:effectLst/>
                        </a:rPr>
                        <a:t>Anzahl TN</a:t>
                      </a:r>
                      <a:endParaRPr lang="en-DE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40</a:t>
                      </a:r>
                      <a:endParaRPr lang="en-DE" sz="16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17</a:t>
                      </a:r>
                      <a:endParaRPr lang="en-DE" sz="16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543972"/>
                  </a:ext>
                </a:extLst>
              </a:tr>
              <a:tr h="2577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b="0" dirty="0">
                          <a:effectLst/>
                        </a:rPr>
                        <a:t>Inhalt</a:t>
                      </a:r>
                      <a:endParaRPr lang="en-DE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Pointierte Fragestellung</a:t>
                      </a:r>
                      <a:endParaRPr lang="en-DE" sz="16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Einzelner Fachbegriff</a:t>
                      </a:r>
                      <a:endParaRPr lang="en-DE" sz="16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366942"/>
                  </a:ext>
                </a:extLst>
              </a:tr>
              <a:tr h="8952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700" dirty="0">
                          <a:effectLst/>
                        </a:rPr>
                        <a:t>Format</a:t>
                      </a:r>
                      <a:endParaRPr lang="en-DE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7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</a:rPr>
                        <a:t>Ex-Post</a:t>
                      </a:r>
                      <a:r>
                        <a:rPr lang="de-DE" sz="1700" dirty="0">
                          <a:effectLst/>
                        </a:rPr>
                        <a:t>: </a:t>
                      </a:r>
                      <a:br>
                        <a:rPr lang="de-DE" sz="1700" dirty="0">
                          <a:effectLst/>
                        </a:rPr>
                      </a:br>
                      <a:r>
                        <a:rPr lang="de-DE" sz="1600" dirty="0">
                          <a:effectLst/>
                        </a:rPr>
                        <a:t>Jede Woche zwei bis drei Vorträge zur Vertiefung zuvor behandelter theoretischer Inhalte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700" b="1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</a:rPr>
                        <a:t>Ex-Ante</a:t>
                      </a:r>
                      <a:r>
                        <a:rPr lang="de-DE" sz="1700" dirty="0">
                          <a:effectLst/>
                        </a:rPr>
                        <a:t>: </a:t>
                      </a:r>
                      <a:br>
                        <a:rPr lang="de-DE" sz="1700" dirty="0">
                          <a:effectLst/>
                        </a:rPr>
                      </a:br>
                      <a:r>
                        <a:rPr lang="de-DE" sz="1600" dirty="0">
                          <a:effectLst/>
                        </a:rPr>
                        <a:t>Alle Präsentationen in einer Veranstaltung zwecks Einführung wichtiger Fachbegriffe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197531"/>
                  </a:ext>
                </a:extLst>
              </a:tr>
              <a:tr h="4258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7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lexion</a:t>
                      </a:r>
                      <a:endParaRPr lang="en-DE" sz="17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öchentliche Diskussion </a:t>
                      </a:r>
                      <a:r>
                        <a:rPr lang="de-DE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de-DE" sz="17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ppe</a:t>
                      </a:r>
                      <a:r>
                        <a:rPr lang="de-DE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DE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rnportfolio</a:t>
                      </a:r>
                      <a:r>
                        <a:rPr lang="de-DE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de-DE" sz="17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viduell</a:t>
                      </a:r>
                      <a:r>
                        <a:rPr lang="de-DE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DE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212527"/>
                  </a:ext>
                </a:extLst>
              </a:tr>
              <a:tr h="8004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b="0" dirty="0">
                          <a:effectLst/>
                        </a:rPr>
                        <a:t>Prüfungsleistung der Veranstaltung</a:t>
                      </a:r>
                      <a:endParaRPr lang="en-DE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äsentation (10%) + Hausarbeit (20%) + Klausur (70%)</a:t>
                      </a:r>
                      <a:endParaRPr lang="en-DE" sz="1600" kern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 kern="1200" dirty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ppenpräsentation (30%) + Lernportfolio (70%)</a:t>
                      </a:r>
                      <a:endParaRPr lang="en-DE" sz="1600" kern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0217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02808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DAA068-6883-4D24-BDEA-FCCD57B6B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 kann ein </a:t>
            </a:r>
            <a:r>
              <a:rPr lang="de-DE" dirty="0" err="1"/>
              <a:t>TikTok</a:t>
            </a:r>
            <a:r>
              <a:rPr lang="de-DE" dirty="0"/>
              <a:t>-ähnliches Format sinnvoll in der Lehre eingesetzt werden?</a:t>
            </a:r>
            <a:r>
              <a:rPr lang="en-DE" dirty="0"/>
              <a:t/>
            </a:r>
            <a:br>
              <a:rPr lang="en-DE" dirty="0"/>
            </a:b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108DACE-7CE3-4A5B-9092-0EC62E3D6BE2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9429A87-F346-41B6-96CF-7C8184421EF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20F0C65-A77B-45C8-8381-BD44B491C1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F06EE176-A9D9-4BCF-B836-886EF07B9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645171"/>
              </p:ext>
            </p:extLst>
          </p:nvPr>
        </p:nvGraphicFramePr>
        <p:xfrm>
          <a:off x="1204913" y="2950119"/>
          <a:ext cx="10520495" cy="1386588"/>
        </p:xfrm>
        <a:graphic>
          <a:graphicData uri="http://schemas.openxmlformats.org/drawingml/2006/table">
            <a:tbl>
              <a:tblPr/>
              <a:tblGrid>
                <a:gridCol w="7765087">
                  <a:extLst>
                    <a:ext uri="{9D8B030D-6E8A-4147-A177-3AD203B41FA5}">
                      <a16:colId xmlns:a16="http://schemas.microsoft.com/office/drawing/2014/main" val="366615542"/>
                    </a:ext>
                  </a:extLst>
                </a:gridCol>
                <a:gridCol w="1455527">
                  <a:extLst>
                    <a:ext uri="{9D8B030D-6E8A-4147-A177-3AD203B41FA5}">
                      <a16:colId xmlns:a16="http://schemas.microsoft.com/office/drawing/2014/main" val="3458367657"/>
                    </a:ext>
                  </a:extLst>
                </a:gridCol>
                <a:gridCol w="1299881">
                  <a:extLst>
                    <a:ext uri="{9D8B030D-6E8A-4147-A177-3AD203B41FA5}">
                      <a16:colId xmlns:a16="http://schemas.microsoft.com/office/drawing/2014/main" val="15699473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an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d. Deviation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8042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s Format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mpfinde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ch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s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hr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reichernd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ür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ine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hrveranstaltung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3265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1429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264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s Format ist geeignet um </a:t>
                      </a: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resse für das Thema zu wecken.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7143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88976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8765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s Format ist geeignet um </a:t>
                      </a: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inen Themenüberblick zu erhalten.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6735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92168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986333"/>
                  </a:ext>
                </a:extLst>
              </a:tr>
            </a:tbl>
          </a:graphicData>
        </a:graphic>
      </p:graphicFrame>
      <p:pic>
        <p:nvPicPr>
          <p:cNvPr id="15" name="Grafik 14" descr="Häkchen">
            <a:extLst>
              <a:ext uri="{FF2B5EF4-FFF2-40B4-BE49-F238E27FC236}">
                <a16:creationId xmlns:a16="http://schemas.microsoft.com/office/drawing/2014/main" id="{DD432163-453A-4752-87EE-F42687BA0A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486489" y="1687140"/>
            <a:ext cx="477837" cy="477837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D2B72B05-1411-47B7-B769-512DC026002A}"/>
              </a:ext>
            </a:extLst>
          </p:cNvPr>
          <p:cNvSpPr/>
          <p:nvPr/>
        </p:nvSpPr>
        <p:spPr>
          <a:xfrm>
            <a:off x="1204913" y="1587081"/>
            <a:ext cx="2562418" cy="671994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err="1">
                <a:solidFill>
                  <a:schemeClr val="bg1"/>
                </a:solidFill>
              </a:rPr>
              <a:t>TikTok</a:t>
            </a:r>
            <a:r>
              <a:rPr lang="de-DE" sz="1600" b="1" dirty="0">
                <a:solidFill>
                  <a:schemeClr val="bg1"/>
                </a:solidFill>
              </a:rPr>
              <a:t> in der Lehre</a:t>
            </a:r>
            <a:endParaRPr lang="en-DE" sz="1600" b="1" dirty="0">
              <a:solidFill>
                <a:schemeClr val="bg1"/>
              </a:solidFill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4F0F9421-DA45-4C24-B8F1-F4B9C7B7F43E}"/>
              </a:ext>
            </a:extLst>
          </p:cNvPr>
          <p:cNvGrpSpPr/>
          <p:nvPr/>
        </p:nvGrpSpPr>
        <p:grpSpPr>
          <a:xfrm>
            <a:off x="4026038" y="1595035"/>
            <a:ext cx="7201204" cy="671994"/>
            <a:chOff x="4027626" y="1623928"/>
            <a:chExt cx="7201204" cy="52657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7C6E7472-5DB2-43E9-99A5-5609DCD4EFC3}"/>
                </a:ext>
              </a:extLst>
            </p:cNvPr>
            <p:cNvSpPr/>
            <p:nvPr/>
          </p:nvSpPr>
          <p:spPr>
            <a:xfrm>
              <a:off x="4665332" y="1623928"/>
              <a:ext cx="6563498" cy="52657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400" i="1" dirty="0"/>
                <a:t>Das Format „</a:t>
              </a:r>
              <a:r>
                <a:rPr lang="de-DE" sz="1400" i="1" dirty="0" err="1"/>
                <a:t>One</a:t>
              </a:r>
              <a:r>
                <a:rPr lang="de-DE" sz="1400" i="1" dirty="0"/>
                <a:t>-Slide-About“ ist gut geeignet, um in einer Veranstaltung Interesse für spezifische Aspekte eines Themas zu wecken.</a:t>
              </a:r>
              <a:endParaRPr lang="en-DE" sz="1400" i="1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527D328D-D9D9-4869-934E-E9F5795B0695}"/>
                </a:ext>
              </a:extLst>
            </p:cNvPr>
            <p:cNvSpPr/>
            <p:nvPr/>
          </p:nvSpPr>
          <p:spPr>
            <a:xfrm>
              <a:off x="4027626" y="1623928"/>
              <a:ext cx="636105" cy="52657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</a:rPr>
                <a:t>H1</a:t>
              </a:r>
              <a:endParaRPr lang="en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8A0798D9-EBBA-4D01-B37E-6C4487E1A5D2}"/>
              </a:ext>
            </a:extLst>
          </p:cNvPr>
          <p:cNvSpPr txBox="1"/>
          <p:nvPr/>
        </p:nvSpPr>
        <p:spPr>
          <a:xfrm>
            <a:off x="9719281" y="4369858"/>
            <a:ext cx="20061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N = 49</a:t>
            </a:r>
          </a:p>
          <a:p>
            <a:r>
              <a:rPr lang="de-DE" sz="1200" dirty="0"/>
              <a:t>1 = trifft voll und ganz zu</a:t>
            </a:r>
          </a:p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7 = trifft überhaupt nicht zu</a:t>
            </a:r>
            <a:endParaRPr lang="en-DE" sz="12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9217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CDDE3B-0723-4853-8C12-D49C3C9A6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zu wäre ein mögliches Format besser geeignet: </a:t>
            </a:r>
            <a:br>
              <a:rPr lang="de-DE" dirty="0"/>
            </a:br>
            <a:r>
              <a:rPr lang="de-DE" dirty="0"/>
              <a:t>Vertiefung ex-post oder Impuls ex-ante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A67040-2D73-4CBE-85D1-570924108018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504071-FB5E-4494-B458-9E899DD831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07BBAA-AA96-4CE3-9801-614A56D441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853B87CA-0D7F-4295-B104-2F1B5A41DF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680843"/>
              </p:ext>
            </p:extLst>
          </p:nvPr>
        </p:nvGraphicFramePr>
        <p:xfrm>
          <a:off x="1206501" y="2950419"/>
          <a:ext cx="10522082" cy="1404494"/>
        </p:xfrm>
        <a:graphic>
          <a:graphicData uri="http://schemas.openxmlformats.org/drawingml/2006/table">
            <a:tbl>
              <a:tblPr/>
              <a:tblGrid>
                <a:gridCol w="3675011">
                  <a:extLst>
                    <a:ext uri="{9D8B030D-6E8A-4147-A177-3AD203B41FA5}">
                      <a16:colId xmlns:a16="http://schemas.microsoft.com/office/drawing/2014/main" val="890507160"/>
                    </a:ext>
                  </a:extLst>
                </a:gridCol>
                <a:gridCol w="2444611">
                  <a:extLst>
                    <a:ext uri="{9D8B030D-6E8A-4147-A177-3AD203B41FA5}">
                      <a16:colId xmlns:a16="http://schemas.microsoft.com/office/drawing/2014/main" val="2442827916"/>
                    </a:ext>
                  </a:extLst>
                </a:gridCol>
                <a:gridCol w="999730">
                  <a:extLst>
                    <a:ext uri="{9D8B030D-6E8A-4147-A177-3AD203B41FA5}">
                      <a16:colId xmlns:a16="http://schemas.microsoft.com/office/drawing/2014/main" val="1418106606"/>
                    </a:ext>
                  </a:extLst>
                </a:gridCol>
                <a:gridCol w="1100889">
                  <a:extLst>
                    <a:ext uri="{9D8B030D-6E8A-4147-A177-3AD203B41FA5}">
                      <a16:colId xmlns:a16="http://schemas.microsoft.com/office/drawing/2014/main" val="2747608933"/>
                    </a:ext>
                  </a:extLst>
                </a:gridCol>
                <a:gridCol w="1231178">
                  <a:extLst>
                    <a:ext uri="{9D8B030D-6E8A-4147-A177-3AD203B41FA5}">
                      <a16:colId xmlns:a16="http://schemas.microsoft.com/office/drawing/2014/main" val="2507068285"/>
                    </a:ext>
                  </a:extLst>
                </a:gridCol>
                <a:gridCol w="1070663">
                  <a:extLst>
                    <a:ext uri="{9D8B030D-6E8A-4147-A177-3AD203B41FA5}">
                      <a16:colId xmlns:a16="http://schemas.microsoft.com/office/drawing/2014/main" val="12484563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che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ranstaltung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aben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ie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sucht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?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an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d. Deviation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d. Error Mean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127239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s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den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äsentationen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der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deren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ilnehmer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*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nen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nnte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ch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iel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tnehmen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sonalmanagement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0303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3705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21534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5174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gitale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beitswelt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0625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43614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35904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50753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16D1BB1F-B758-42F0-8BE8-CFC96194CBCC}"/>
              </a:ext>
            </a:extLst>
          </p:cNvPr>
          <p:cNvSpPr txBox="1"/>
          <p:nvPr/>
        </p:nvSpPr>
        <p:spPr>
          <a:xfrm>
            <a:off x="1204913" y="4395276"/>
            <a:ext cx="53989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(Mann-Whitney-U-Test: U = 267.000, Z = 0.066, p &lt; .947)</a:t>
            </a:r>
            <a:endParaRPr lang="en-DE" sz="16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fik 21" descr="Schließen">
            <a:extLst>
              <a:ext uri="{FF2B5EF4-FFF2-40B4-BE49-F238E27FC236}">
                <a16:creationId xmlns:a16="http://schemas.microsoft.com/office/drawing/2014/main" id="{131218B1-8EA8-4C75-962E-527F74B5AA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494554" y="1689807"/>
            <a:ext cx="477837" cy="477837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37C5FF6-EF15-4A2D-A93D-DE70D728A0D4}"/>
              </a:ext>
            </a:extLst>
          </p:cNvPr>
          <p:cNvGrpSpPr/>
          <p:nvPr/>
        </p:nvGrpSpPr>
        <p:grpSpPr>
          <a:xfrm>
            <a:off x="4027626" y="1606408"/>
            <a:ext cx="7207567" cy="671994"/>
            <a:chOff x="4027626" y="4502631"/>
            <a:chExt cx="7207567" cy="526570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E427013-C967-4BB4-BFAC-159B173CB589}"/>
                </a:ext>
              </a:extLst>
            </p:cNvPr>
            <p:cNvSpPr/>
            <p:nvPr/>
          </p:nvSpPr>
          <p:spPr>
            <a:xfrm>
              <a:off x="4665332" y="4502631"/>
              <a:ext cx="6569861" cy="52657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400" i="1" dirty="0"/>
                <a:t>Teilnehmer*innen empfinden das Format als Zuhörer*innen ex-post als hilfreicher, da sie über mehr Vorwissen verfügen um die Inhalte verknüpfen zu können. </a:t>
              </a:r>
              <a:endParaRPr lang="en-DE" sz="1400" i="1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B5367C9-4459-424E-81AA-28FACEDA3D18}"/>
                </a:ext>
              </a:extLst>
            </p:cNvPr>
            <p:cNvSpPr/>
            <p:nvPr/>
          </p:nvSpPr>
          <p:spPr>
            <a:xfrm>
              <a:off x="4027626" y="4502631"/>
              <a:ext cx="636105" cy="526570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</a:rPr>
                <a:t>H2</a:t>
              </a:r>
              <a:endParaRPr lang="en-DE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Rechteck 24">
            <a:extLst>
              <a:ext uri="{FF2B5EF4-FFF2-40B4-BE49-F238E27FC236}">
                <a16:creationId xmlns:a16="http://schemas.microsoft.com/office/drawing/2014/main" id="{4AE010FF-BF48-4097-9A5C-4439E7D817AF}"/>
              </a:ext>
            </a:extLst>
          </p:cNvPr>
          <p:cNvSpPr/>
          <p:nvPr/>
        </p:nvSpPr>
        <p:spPr>
          <a:xfrm>
            <a:off x="1204913" y="1606408"/>
            <a:ext cx="2562418" cy="67199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Vertiefung ex-post oder Impuls ex-ante</a:t>
            </a:r>
            <a:endParaRPr lang="en-DE" sz="1600" b="1" dirty="0">
              <a:solidFill>
                <a:schemeClr val="bg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2F46EA6-5883-4FEF-8AA5-3DAE28D8B3EC}"/>
              </a:ext>
            </a:extLst>
          </p:cNvPr>
          <p:cNvSpPr txBox="1"/>
          <p:nvPr/>
        </p:nvSpPr>
        <p:spPr>
          <a:xfrm>
            <a:off x="9719281" y="4369858"/>
            <a:ext cx="20061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1 = trifft voll und ganz zu</a:t>
            </a:r>
          </a:p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7 = trifft überhaupt nicht zu</a:t>
            </a:r>
            <a:endParaRPr lang="en-DE" sz="12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1904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CDDE3B-0723-4853-8C12-D49C3C9A6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rnen </a:t>
            </a:r>
            <a:r>
              <a:rPr lang="de-DE" dirty="0" err="1"/>
              <a:t>Ersteller:innen</a:t>
            </a:r>
            <a:r>
              <a:rPr lang="de-DE" dirty="0"/>
              <a:t> mehr als </a:t>
            </a:r>
            <a:r>
              <a:rPr lang="de-DE" dirty="0" err="1"/>
              <a:t>Konsument:innen</a:t>
            </a:r>
            <a:r>
              <a:rPr lang="de-DE" dirty="0"/>
              <a:t>?</a:t>
            </a:r>
            <a:r>
              <a:rPr lang="en-DE" dirty="0"/>
              <a:t/>
            </a:r>
            <a:br>
              <a:rPr lang="en-DE" dirty="0"/>
            </a:br>
            <a:endParaRPr lang="en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A67040-2D73-4CBE-85D1-570924108018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Das Lehrformat „</a:t>
            </a:r>
            <a:r>
              <a:rPr lang="de-DE" dirty="0" err="1"/>
              <a:t>One</a:t>
            </a:r>
            <a:r>
              <a:rPr lang="de-DE" dirty="0"/>
              <a:t>-Slide-About“</a:t>
            </a:r>
            <a:endParaRPr lang="en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504071-FB5E-4494-B458-9E899DD831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E4165A3-ACD9-4AA5-B95A-82DA06B8D41A}" type="datetime1">
              <a:rPr lang="de-DE" smtClean="0"/>
              <a:pPr>
                <a:defRPr/>
              </a:pPr>
              <a:t>10.05.2021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07BBAA-AA96-4CE3-9801-614A56D441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Seite </a:t>
            </a:r>
            <a:fld id="{43310F81-32EE-4F95-9E9C-0BDC6AD52EEC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pic>
        <p:nvPicPr>
          <p:cNvPr id="22" name="Grafik 21" descr="Häkchen">
            <a:extLst>
              <a:ext uri="{FF2B5EF4-FFF2-40B4-BE49-F238E27FC236}">
                <a16:creationId xmlns:a16="http://schemas.microsoft.com/office/drawing/2014/main" id="{328FD8AD-D59C-40D8-BF37-D2FF5FA80A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486489" y="1687140"/>
            <a:ext cx="477837" cy="477837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10296345-EBE4-4F0F-AB07-252F72918D36}"/>
              </a:ext>
            </a:extLst>
          </p:cNvPr>
          <p:cNvSpPr/>
          <p:nvPr/>
        </p:nvSpPr>
        <p:spPr>
          <a:xfrm>
            <a:off x="1204913" y="1590676"/>
            <a:ext cx="2562418" cy="678337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Ersteller*innen vs. Konsument*innen</a:t>
            </a:r>
            <a:endParaRPr lang="en-DE" sz="1600" b="1" dirty="0">
              <a:solidFill>
                <a:schemeClr val="bg1"/>
              </a:solidFill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E05916A-AFC8-4C9D-B398-0F35AF956BD2}"/>
              </a:ext>
            </a:extLst>
          </p:cNvPr>
          <p:cNvGrpSpPr/>
          <p:nvPr/>
        </p:nvGrpSpPr>
        <p:grpSpPr>
          <a:xfrm>
            <a:off x="4027626" y="1590676"/>
            <a:ext cx="7199616" cy="678337"/>
            <a:chOff x="4027626" y="3757668"/>
            <a:chExt cx="7199616" cy="52657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4CCD68ED-8772-4FAF-AD09-9E8FC6DB6954}"/>
                </a:ext>
              </a:extLst>
            </p:cNvPr>
            <p:cNvSpPr/>
            <p:nvPr/>
          </p:nvSpPr>
          <p:spPr>
            <a:xfrm>
              <a:off x="4665332" y="3757668"/>
              <a:ext cx="6561910" cy="52657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400" i="1" dirty="0"/>
                <a:t>Ersteller*innen ziehen größeren inhaltlichen Nutzen aus dem Format, als Konsument*innen. </a:t>
              </a:r>
              <a:endParaRPr lang="en-DE" sz="1400" i="1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E28891E4-F9C9-4508-81CC-A6627D09DD26}"/>
                </a:ext>
              </a:extLst>
            </p:cNvPr>
            <p:cNvSpPr/>
            <p:nvPr/>
          </p:nvSpPr>
          <p:spPr>
            <a:xfrm>
              <a:off x="4027626" y="3757668"/>
              <a:ext cx="636105" cy="526570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de-DE" sz="1600" b="1" dirty="0">
                  <a:solidFill>
                    <a:schemeClr val="bg1"/>
                  </a:solidFill>
                </a:rPr>
                <a:t>H3</a:t>
              </a:r>
              <a:endParaRPr lang="en-DE" sz="1600" b="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5D6C3A0B-0DFC-4D68-8368-F685255F7F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1037111"/>
              </p:ext>
            </p:extLst>
          </p:nvPr>
        </p:nvGraphicFramePr>
        <p:xfrm>
          <a:off x="1206501" y="2445951"/>
          <a:ext cx="10798174" cy="1090741"/>
        </p:xfrm>
        <a:graphic>
          <a:graphicData uri="http://schemas.openxmlformats.org/drawingml/2006/table">
            <a:tbl>
              <a:tblPr/>
              <a:tblGrid>
                <a:gridCol w="7790196">
                  <a:extLst>
                    <a:ext uri="{9D8B030D-6E8A-4147-A177-3AD203B41FA5}">
                      <a16:colId xmlns:a16="http://schemas.microsoft.com/office/drawing/2014/main" val="2401625292"/>
                    </a:ext>
                  </a:extLst>
                </a:gridCol>
                <a:gridCol w="1703892">
                  <a:extLst>
                    <a:ext uri="{9D8B030D-6E8A-4147-A177-3AD203B41FA5}">
                      <a16:colId xmlns:a16="http://schemas.microsoft.com/office/drawing/2014/main" val="4210829084"/>
                    </a:ext>
                  </a:extLst>
                </a:gridCol>
                <a:gridCol w="1304086">
                  <a:extLst>
                    <a:ext uri="{9D8B030D-6E8A-4147-A177-3AD203B41FA5}">
                      <a16:colId xmlns:a16="http://schemas.microsoft.com/office/drawing/2014/main" val="50752112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an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d. Deviation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2023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urch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die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rstellung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der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äsentation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abe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ch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iel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über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in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ema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DE" sz="1600" dirty="0" err="1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lernt</a:t>
                      </a:r>
                      <a:r>
                        <a:rPr lang="en-DE" sz="1600" dirty="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9388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8797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1529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815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>
                          <a:solidFill>
                            <a:srgbClr val="264A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s den Präsentationen der anderen Teilnehmer*innen konnte ich viel mitnehmen.</a:t>
                      </a:r>
                      <a:endParaRPr lang="en-D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0E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0408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DE" sz="1600" dirty="0">
                          <a:solidFill>
                            <a:srgbClr val="010205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9034</a:t>
                      </a:r>
                      <a:endParaRPr lang="en-D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E0E0E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EAEA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67200"/>
                  </a:ext>
                </a:extLst>
              </a:tr>
            </a:tbl>
          </a:graphicData>
        </a:graphic>
      </p:graphicFrame>
      <p:sp>
        <p:nvSpPr>
          <p:cNvPr id="16" name="Sprechblase: rechteckig mit abgerundeten Ecken 15">
            <a:extLst>
              <a:ext uri="{FF2B5EF4-FFF2-40B4-BE49-F238E27FC236}">
                <a16:creationId xmlns:a16="http://schemas.microsoft.com/office/drawing/2014/main" id="{9A2078B6-8B49-45C8-8B6A-9F892CFBEE0C}"/>
              </a:ext>
            </a:extLst>
          </p:cNvPr>
          <p:cNvSpPr/>
          <p:nvPr/>
        </p:nvSpPr>
        <p:spPr>
          <a:xfrm>
            <a:off x="1854200" y="4087501"/>
            <a:ext cx="3369807" cy="1090741"/>
          </a:xfrm>
          <a:prstGeom prst="wedgeRoundRectCallout">
            <a:avLst>
              <a:gd name="adj1" fmla="val -60902"/>
              <a:gd name="adj2" fmla="val -35184"/>
              <a:gd name="adj3" fmla="val 16667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i="1"/>
              <a:t>„Nur als kleinen Impuls, für die Klausur schwierig sich genaues daraus zu ziehen“</a:t>
            </a:r>
            <a:endParaRPr lang="en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B92D4FC-FE3F-4435-B7C4-B8E9D7505BD1}"/>
              </a:ext>
            </a:extLst>
          </p:cNvPr>
          <p:cNvSpPr txBox="1"/>
          <p:nvPr/>
        </p:nvSpPr>
        <p:spPr>
          <a:xfrm>
            <a:off x="6361439" y="4573557"/>
            <a:ext cx="20600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Impu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Interesse weck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alternative Perspektive </a:t>
            </a:r>
            <a:endParaRPr lang="en-DE" sz="1600" dirty="0" err="1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A95D906-1709-4700-9BCE-3570CCE63471}"/>
              </a:ext>
            </a:extLst>
          </p:cNvPr>
          <p:cNvSpPr txBox="1"/>
          <p:nvPr/>
        </p:nvSpPr>
        <p:spPr>
          <a:xfrm>
            <a:off x="8649163" y="4612568"/>
            <a:ext cx="18456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Vertief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Fundierung</a:t>
            </a:r>
            <a:endParaRPr lang="en-DE" sz="1600" dirty="0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C44E66E-D1C3-4F49-A184-1CDF572CC6D2}"/>
              </a:ext>
            </a:extLst>
          </p:cNvPr>
          <p:cNvSpPr txBox="1"/>
          <p:nvPr/>
        </p:nvSpPr>
        <p:spPr>
          <a:xfrm>
            <a:off x="7102244" y="3881796"/>
            <a:ext cx="4539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en-DE" sz="3600" dirty="0" err="1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7F91D9F-1449-47FA-BCB9-577AFDDB3B1B}"/>
              </a:ext>
            </a:extLst>
          </p:cNvPr>
          <p:cNvSpPr/>
          <p:nvPr/>
        </p:nvSpPr>
        <p:spPr>
          <a:xfrm>
            <a:off x="9267600" y="3881795"/>
            <a:ext cx="33855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600" dirty="0">
                <a:solidFill>
                  <a:schemeClr val="accent1"/>
                </a:solidFill>
              </a:rPr>
              <a:t>-</a:t>
            </a:r>
            <a:endParaRPr lang="en-DE" sz="3600" dirty="0" err="1">
              <a:solidFill>
                <a:schemeClr val="accent1"/>
              </a:solidFill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5401F55-7C0F-4EC1-84D9-675D8AC6545A}"/>
              </a:ext>
            </a:extLst>
          </p:cNvPr>
          <p:cNvCxnSpPr>
            <a:cxnSpLocks/>
          </p:cNvCxnSpPr>
          <p:nvPr/>
        </p:nvCxnSpPr>
        <p:spPr>
          <a:xfrm>
            <a:off x="6361439" y="4443685"/>
            <a:ext cx="4133408" cy="0"/>
          </a:xfrm>
          <a:prstGeom prst="line">
            <a:avLst/>
          </a:prstGeom>
          <a:ln w="12700">
            <a:solidFill>
              <a:schemeClr val="tx1"/>
            </a:solidFill>
            <a:tailEnd type="non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D1184B5C-3C0D-4198-A08D-F6FB92CF0C21}"/>
              </a:ext>
            </a:extLst>
          </p:cNvPr>
          <p:cNvCxnSpPr>
            <a:cxnSpLocks/>
          </p:cNvCxnSpPr>
          <p:nvPr/>
        </p:nvCxnSpPr>
        <p:spPr>
          <a:xfrm>
            <a:off x="8421468" y="4010250"/>
            <a:ext cx="0" cy="1730592"/>
          </a:xfrm>
          <a:prstGeom prst="line">
            <a:avLst/>
          </a:prstGeom>
          <a:ln w="12700">
            <a:solidFill>
              <a:schemeClr val="tx1"/>
            </a:solidFill>
            <a:tailEnd type="non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5F360218-29BB-4B83-BF69-D99E52525B2E}"/>
              </a:ext>
            </a:extLst>
          </p:cNvPr>
          <p:cNvSpPr txBox="1"/>
          <p:nvPr/>
        </p:nvSpPr>
        <p:spPr>
          <a:xfrm>
            <a:off x="9985347" y="3566520"/>
            <a:ext cx="20061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1 = trifft voll und ganz zu</a:t>
            </a:r>
          </a:p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7 = trifft überhaupt nicht zu</a:t>
            </a:r>
            <a:endParaRPr lang="en-DE" sz="12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972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vsS7GzLzv8i2q9HgIZZw"/>
</p:tagLst>
</file>

<file path=ppt/theme/theme1.xml><?xml version="1.0" encoding="utf-8"?>
<a:theme xmlns:a="http://schemas.openxmlformats.org/drawingml/2006/main" name="Masterfolie_16_9neu">
  <a:themeElements>
    <a:clrScheme name="TH Köln Spektrum">
      <a:dk1>
        <a:srgbClr val="000000"/>
      </a:dk1>
      <a:lt1>
        <a:srgbClr val="FFFFFF"/>
      </a:lt1>
      <a:dk2>
        <a:srgbClr val="808080"/>
      </a:dk2>
      <a:lt2>
        <a:srgbClr val="BFBFBF"/>
      </a:lt2>
      <a:accent1>
        <a:srgbClr val="C00009"/>
      </a:accent1>
      <a:accent2>
        <a:srgbClr val="E24300"/>
      </a:accent2>
      <a:accent3>
        <a:srgbClr val="9D167A"/>
      </a:accent3>
      <a:accent4>
        <a:srgbClr val="00CC00"/>
      </a:accent4>
      <a:accent5>
        <a:srgbClr val="FFFF00"/>
      </a:accent5>
      <a:accent6>
        <a:srgbClr val="259EFF"/>
      </a:accent6>
      <a:hlink>
        <a:srgbClr val="005294"/>
      </a:hlink>
      <a:folHlink>
        <a:srgbClr val="6783B4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a:style>
    </a:spDef>
    <a:lnDef>
      <a:spPr>
        <a:ln w="12700">
          <a:solidFill>
            <a:schemeClr val="tx1"/>
          </a:solidFill>
          <a:tailEnd type="triangle" w="med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k_ln_pptvorlage_16_9_Feb2016_V1.potx" id="{A576FD44-4E46-4723-9FCD-6DC9777E0436}" vid="{1A564047-D60B-4EFF-AAEA-89036AD4D3C0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folien_16_9 (1)</Template>
  <TotalTime>0</TotalTime>
  <Words>1048</Words>
  <Application>Microsoft Office PowerPoint</Application>
  <PresentationFormat>Breitbild</PresentationFormat>
  <Paragraphs>203</Paragraphs>
  <Slides>1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2" baseType="lpstr">
      <vt:lpstr>ＭＳ Ｐゴシック</vt:lpstr>
      <vt:lpstr>Arial</vt:lpstr>
      <vt:lpstr>Arial </vt:lpstr>
      <vt:lpstr>Calibri</vt:lpstr>
      <vt:lpstr>Comic Sans MS</vt:lpstr>
      <vt:lpstr>Symbol</vt:lpstr>
      <vt:lpstr>Times New Roman</vt:lpstr>
      <vt:lpstr>Wingdings</vt:lpstr>
      <vt:lpstr>Masterfolie_16_9neu</vt:lpstr>
      <vt:lpstr>think-cell Folie</vt:lpstr>
      <vt:lpstr>Das Lehrformat „One-Slide-About“</vt:lpstr>
      <vt:lpstr>Der Auslöser/ Die Idee</vt:lpstr>
      <vt:lpstr>Motivation/ Forschungsfragen</vt:lpstr>
      <vt:lpstr>Das Format „One-Slide-About“ - Lernziel</vt:lpstr>
      <vt:lpstr>Hypothesen</vt:lpstr>
      <vt:lpstr>Untersuchungsdesign: „Stichprobenvergleich“</vt:lpstr>
      <vt:lpstr>Wie kann ein TikTok-ähnliches Format sinnvoll in der Lehre eingesetzt werden? </vt:lpstr>
      <vt:lpstr>Wozu wäre ein mögliches Format besser geeignet:  Vertiefung ex-post oder Impuls ex-ante?</vt:lpstr>
      <vt:lpstr>Lernen Ersteller:innen mehr als Konsument:innen? </vt:lpstr>
      <vt:lpstr>Lernen Ersteller:innen mehr als Konsument:innen? </vt:lpstr>
      <vt:lpstr>Video vs. Präsentation: Wahl des Mediums</vt:lpstr>
      <vt:lpstr>Mehr Fragen als Antworten</vt:lpstr>
    </vt:vector>
  </TitlesOfParts>
  <Company>FH Köln Campus-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folie</dc:title>
  <dc:creator>Carsten Knaut</dc:creator>
  <cp:lastModifiedBy>Caroline Dingler (cdingler)</cp:lastModifiedBy>
  <cp:revision>29</cp:revision>
  <cp:lastPrinted>2016-02-26T07:58:29Z</cp:lastPrinted>
  <dcterms:created xsi:type="dcterms:W3CDTF">2020-03-18T11:04:37Z</dcterms:created>
  <dcterms:modified xsi:type="dcterms:W3CDTF">2021-05-10T12:03:31Z</dcterms:modified>
</cp:coreProperties>
</file>